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7" r:id="rId1"/>
  </p:sldMasterIdLst>
  <p:notesMasterIdLst>
    <p:notesMasterId r:id="rId18"/>
  </p:notesMasterIdLst>
  <p:handoutMasterIdLst>
    <p:handoutMasterId r:id="rId19"/>
  </p:handoutMasterIdLst>
  <p:sldIdLst>
    <p:sldId id="256" r:id="rId2"/>
    <p:sldId id="1965" r:id="rId3"/>
    <p:sldId id="1972" r:id="rId4"/>
    <p:sldId id="1969" r:id="rId5"/>
    <p:sldId id="1973" r:id="rId6"/>
    <p:sldId id="1974" r:id="rId7"/>
    <p:sldId id="1970" r:id="rId8"/>
    <p:sldId id="1976" r:id="rId9"/>
    <p:sldId id="1977" r:id="rId10"/>
    <p:sldId id="1978" r:id="rId11"/>
    <p:sldId id="1975" r:id="rId12"/>
    <p:sldId id="1979" r:id="rId13"/>
    <p:sldId id="1980" r:id="rId14"/>
    <p:sldId id="1981" r:id="rId15"/>
    <p:sldId id="1982" r:id="rId16"/>
    <p:sldId id="1968" r:id="rId17"/>
  </p:sldIdLst>
  <p:sldSz cx="12192000" cy="6858000"/>
  <p:notesSz cx="6805613" cy="9939338"/>
  <p:custDataLst>
    <p:tags r:id="rId20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unsch, Johannes" initials="BJ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81422"/>
    <a:srgbClr val="39DC1F"/>
    <a:srgbClr val="DECE13"/>
    <a:srgbClr val="0A0A0A"/>
    <a:srgbClr val="008798"/>
    <a:srgbClr val="477BBB"/>
    <a:srgbClr val="558ED5"/>
    <a:srgbClr val="042042"/>
    <a:srgbClr val="083E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317A22-45FA-4B75-9155-BBD9294EEE73}" v="135" dt="2025-02-04T16:13:14.690"/>
  </p1510:revLst>
</p1510:revInfo>
</file>

<file path=ppt/tableStyles.xml><?xml version="1.0" encoding="utf-8"?>
<a:tblStyleLst xmlns:a="http://schemas.openxmlformats.org/drawingml/2006/main" def="{5C22544A-7EE6-4342-B048-85BDC9FD1C3A}"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54" autoAdjust="0"/>
    <p:restoredTop sz="84568" autoAdjust="0"/>
  </p:normalViewPr>
  <p:slideViewPr>
    <p:cSldViewPr snapToObjects="1">
      <p:cViewPr varScale="1">
        <p:scale>
          <a:sx n="136" d="100"/>
          <a:sy n="136" d="100"/>
        </p:scale>
        <p:origin x="1208" y="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3594" y="66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as Theis" userId="a0f3eff05f862fa8" providerId="LiveId" clId="{63317A22-45FA-4B75-9155-BBD9294EEE73}"/>
    <pc:docChg chg="undo redo custSel addSld delSld modSld sldOrd modMainMaster">
      <pc:chgData name="Elias Theis" userId="a0f3eff05f862fa8" providerId="LiveId" clId="{63317A22-45FA-4B75-9155-BBD9294EEE73}" dt="2025-02-04T16:13:32.889" v="2416" actId="47"/>
      <pc:docMkLst>
        <pc:docMk/>
      </pc:docMkLst>
      <pc:sldChg chg="addSp delSp modSp mod">
        <pc:chgData name="Elias Theis" userId="a0f3eff05f862fa8" providerId="LiveId" clId="{63317A22-45FA-4B75-9155-BBD9294EEE73}" dt="2025-02-04T16:13:22.358" v="2415" actId="732"/>
        <pc:sldMkLst>
          <pc:docMk/>
          <pc:sldMk cId="2533893218" sldId="256"/>
        </pc:sldMkLst>
        <pc:spChg chg="mod">
          <ac:chgData name="Elias Theis" userId="a0f3eff05f862fa8" providerId="LiveId" clId="{63317A22-45FA-4B75-9155-BBD9294EEE73}" dt="2025-02-04T13:48:49.917" v="516" actId="20577"/>
          <ac:spMkLst>
            <pc:docMk/>
            <pc:sldMk cId="2533893218" sldId="256"/>
            <ac:spMk id="3" creationId="{2DFB4A46-700A-903A-DBEF-EDBCF9FA0832}"/>
          </ac:spMkLst>
        </pc:spChg>
        <pc:spChg chg="mod">
          <ac:chgData name="Elias Theis" userId="a0f3eff05f862fa8" providerId="LiveId" clId="{63317A22-45FA-4B75-9155-BBD9294EEE73}" dt="2025-02-04T13:49:05.827" v="541" actId="20577"/>
          <ac:spMkLst>
            <pc:docMk/>
            <pc:sldMk cId="2533893218" sldId="256"/>
            <ac:spMk id="13" creationId="{C94AE00C-6A0F-72DB-8398-F4B33958BFE5}"/>
          </ac:spMkLst>
        </pc:spChg>
        <pc:spChg chg="add del mod">
          <ac:chgData name="Elias Theis" userId="a0f3eff05f862fa8" providerId="LiveId" clId="{63317A22-45FA-4B75-9155-BBD9294EEE73}" dt="2025-02-04T16:02:54.841" v="2309" actId="478"/>
          <ac:spMkLst>
            <pc:docMk/>
            <pc:sldMk cId="2533893218" sldId="256"/>
            <ac:spMk id="14" creationId="{25B5259F-D30E-D8C1-FC5B-EDF84E94B3C3}"/>
          </ac:spMkLst>
        </pc:spChg>
        <pc:spChg chg="add mod">
          <ac:chgData name="Elias Theis" userId="a0f3eff05f862fa8" providerId="LiveId" clId="{63317A22-45FA-4B75-9155-BBD9294EEE73}" dt="2025-02-04T16:03:06.880" v="2342" actId="478"/>
          <ac:spMkLst>
            <pc:docMk/>
            <pc:sldMk cId="2533893218" sldId="256"/>
            <ac:spMk id="16" creationId="{FFB7BD91-AB7F-DE14-E74C-95BE94135913}"/>
          </ac:spMkLst>
        </pc:spChg>
        <pc:spChg chg="add mod">
          <ac:chgData name="Elias Theis" userId="a0f3eff05f862fa8" providerId="LiveId" clId="{63317A22-45FA-4B75-9155-BBD9294EEE73}" dt="2025-02-04T16:03:54.297" v="2354" actId="2085"/>
          <ac:spMkLst>
            <pc:docMk/>
            <pc:sldMk cId="2533893218" sldId="256"/>
            <ac:spMk id="18" creationId="{C7CF0824-0506-D9BA-D8D7-301EB018618B}"/>
          </ac:spMkLst>
        </pc:spChg>
        <pc:spChg chg="add mod">
          <ac:chgData name="Elias Theis" userId="a0f3eff05f862fa8" providerId="LiveId" clId="{63317A22-45FA-4B75-9155-BBD9294EEE73}" dt="2025-02-04T16:07:45.031" v="2404" actId="1035"/>
          <ac:spMkLst>
            <pc:docMk/>
            <pc:sldMk cId="2533893218" sldId="256"/>
            <ac:spMk id="19" creationId="{D75061CB-7A4B-1132-0428-ABA25971F964}"/>
          </ac:spMkLst>
        </pc:spChg>
        <pc:spChg chg="add mod">
          <ac:chgData name="Elias Theis" userId="a0f3eff05f862fa8" providerId="LiveId" clId="{63317A22-45FA-4B75-9155-BBD9294EEE73}" dt="2025-02-04T16:07:45.031" v="2404" actId="1035"/>
          <ac:spMkLst>
            <pc:docMk/>
            <pc:sldMk cId="2533893218" sldId="256"/>
            <ac:spMk id="24" creationId="{E70B8248-665E-2043-9139-2306C6F712AB}"/>
          </ac:spMkLst>
        </pc:sp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2" creationId="{D063596C-774C-A1E8-CF35-8A97D8C651EC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4" creationId="{5822F25B-F86D-B1E9-BEC3-1692DB62F6B6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5" creationId="{5B1F4E20-9CF5-2EB4-4CE5-B5259CFEDF0B}"/>
          </ac:picMkLst>
        </pc:picChg>
        <pc:picChg chg="add del mod">
          <ac:chgData name="Elias Theis" userId="a0f3eff05f862fa8" providerId="LiveId" clId="{63317A22-45FA-4B75-9155-BBD9294EEE73}" dt="2025-02-04T16:03:06.880" v="2342" actId="478"/>
          <ac:picMkLst>
            <pc:docMk/>
            <pc:sldMk cId="2533893218" sldId="256"/>
            <ac:picMk id="6" creationId="{DE62C448-B3C0-7D37-FE0C-1101A7596E70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7" creationId="{A3813817-0964-BA03-0ADA-A02BF00436FB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8" creationId="{4418BE1B-DBDA-8AFD-6E36-A41FB5E925FA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9" creationId="{CA2DCB69-BB32-47B2-CDEA-52073AF7EEC1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10" creationId="{3E22C96D-DA93-95E6-EEC8-63800B08D12C}"/>
          </ac:picMkLst>
        </pc:picChg>
        <pc:picChg chg="add del mod">
          <ac:chgData name="Elias Theis" userId="a0f3eff05f862fa8" providerId="LiveId" clId="{63317A22-45FA-4B75-9155-BBD9294EEE73}" dt="2025-02-04T16:02:51.518" v="2307" actId="478"/>
          <ac:picMkLst>
            <pc:docMk/>
            <pc:sldMk cId="2533893218" sldId="256"/>
            <ac:picMk id="11" creationId="{EC33E18F-E32D-8918-B1CE-862AED309544}"/>
          </ac:picMkLst>
        </pc:picChg>
        <pc:picChg chg="add del mod">
          <ac:chgData name="Elias Theis" userId="a0f3eff05f862fa8" providerId="LiveId" clId="{63317A22-45FA-4B75-9155-BBD9294EEE73}" dt="2025-02-04T16:03:23.599" v="2347" actId="478"/>
          <ac:picMkLst>
            <pc:docMk/>
            <pc:sldMk cId="2533893218" sldId="256"/>
            <ac:picMk id="17" creationId="{5428F082-8509-CBE7-179D-F8AD4FC1F9A9}"/>
          </ac:picMkLst>
        </pc:picChg>
        <pc:picChg chg="add mod">
          <ac:chgData name="Elias Theis" userId="a0f3eff05f862fa8" providerId="LiveId" clId="{63317A22-45FA-4B75-9155-BBD9294EEE73}" dt="2025-02-04T16:13:10.468" v="2413" actId="732"/>
          <ac:picMkLst>
            <pc:docMk/>
            <pc:sldMk cId="2533893218" sldId="256"/>
            <ac:picMk id="20" creationId="{7FD9AC3F-F190-8938-442F-CFD189C505DC}"/>
          </ac:picMkLst>
        </pc:picChg>
        <pc:picChg chg="add mod">
          <ac:chgData name="Elias Theis" userId="a0f3eff05f862fa8" providerId="LiveId" clId="{63317A22-45FA-4B75-9155-BBD9294EEE73}" dt="2025-02-04T16:13:14.689" v="2414" actId="732"/>
          <ac:picMkLst>
            <pc:docMk/>
            <pc:sldMk cId="2533893218" sldId="256"/>
            <ac:picMk id="21" creationId="{B05BF1E0-92BB-CBF2-62E9-C9EE2DC0A6CB}"/>
          </ac:picMkLst>
        </pc:picChg>
        <pc:picChg chg="add mod">
          <ac:chgData name="Elias Theis" userId="a0f3eff05f862fa8" providerId="LiveId" clId="{63317A22-45FA-4B75-9155-BBD9294EEE73}" dt="2025-02-04T16:09:16.079" v="2410" actId="1037"/>
          <ac:picMkLst>
            <pc:docMk/>
            <pc:sldMk cId="2533893218" sldId="256"/>
            <ac:picMk id="22" creationId="{AC048458-2D45-FF40-431F-8D393BD6394D}"/>
          </ac:picMkLst>
        </pc:picChg>
        <pc:picChg chg="add mod">
          <ac:chgData name="Elias Theis" userId="a0f3eff05f862fa8" providerId="LiveId" clId="{63317A22-45FA-4B75-9155-BBD9294EEE73}" dt="2025-02-04T16:09:16.079" v="2410" actId="1037"/>
          <ac:picMkLst>
            <pc:docMk/>
            <pc:sldMk cId="2533893218" sldId="256"/>
            <ac:picMk id="23" creationId="{66863DC0-508C-6318-ED83-2ED626F67AAC}"/>
          </ac:picMkLst>
        </pc:picChg>
        <pc:picChg chg="add mod">
          <ac:chgData name="Elias Theis" userId="a0f3eff05f862fa8" providerId="LiveId" clId="{63317A22-45FA-4B75-9155-BBD9294EEE73}" dt="2025-02-04T16:09:16.079" v="2410" actId="1037"/>
          <ac:picMkLst>
            <pc:docMk/>
            <pc:sldMk cId="2533893218" sldId="256"/>
            <ac:picMk id="25" creationId="{4B29C931-DC4E-EDB3-476F-554467305779}"/>
          </ac:picMkLst>
        </pc:picChg>
        <pc:picChg chg="add mod modCrop">
          <ac:chgData name="Elias Theis" userId="a0f3eff05f862fa8" providerId="LiveId" clId="{63317A22-45FA-4B75-9155-BBD9294EEE73}" dt="2025-02-04T16:13:22.358" v="2415" actId="732"/>
          <ac:picMkLst>
            <pc:docMk/>
            <pc:sldMk cId="2533893218" sldId="256"/>
            <ac:picMk id="26" creationId="{A416447B-9808-160E-272E-F51E1174F369}"/>
          </ac:picMkLst>
        </pc:picChg>
        <pc:picChg chg="add mod modCrop">
          <ac:chgData name="Elias Theis" userId="a0f3eff05f862fa8" providerId="LiveId" clId="{63317A22-45FA-4B75-9155-BBD9294EEE73}" dt="2025-02-04T16:13:05.863" v="2412" actId="732"/>
          <ac:picMkLst>
            <pc:docMk/>
            <pc:sldMk cId="2533893218" sldId="256"/>
            <ac:picMk id="27" creationId="{0E5F3247-4AE7-B162-F1E7-9577475699BB}"/>
          </ac:picMkLst>
        </pc:picChg>
      </pc:sldChg>
      <pc:sldChg chg="del">
        <pc:chgData name="Elias Theis" userId="a0f3eff05f862fa8" providerId="LiveId" clId="{63317A22-45FA-4B75-9155-BBD9294EEE73}" dt="2025-02-04T14:32:53.647" v="1670" actId="47"/>
        <pc:sldMkLst>
          <pc:docMk/>
          <pc:sldMk cId="2265689662" sldId="1964"/>
        </pc:sldMkLst>
      </pc:sldChg>
      <pc:sldChg chg="addSp delSp modSp mod">
        <pc:chgData name="Elias Theis" userId="a0f3eff05f862fa8" providerId="LiveId" clId="{63317A22-45FA-4B75-9155-BBD9294EEE73}" dt="2025-02-04T14:01:45.149" v="871" actId="20577"/>
        <pc:sldMkLst>
          <pc:docMk/>
          <pc:sldMk cId="4290775995" sldId="1965"/>
        </pc:sldMkLst>
        <pc:spChg chg="add mod">
          <ac:chgData name="Elias Theis" userId="a0f3eff05f862fa8" providerId="LiveId" clId="{63317A22-45FA-4B75-9155-BBD9294EEE73}" dt="2025-02-04T13:08:15.870" v="227"/>
          <ac:spMkLst>
            <pc:docMk/>
            <pc:sldMk cId="4290775995" sldId="1965"/>
            <ac:spMk id="2" creationId="{A19E8454-76B0-07A6-350B-BBD49353D5DE}"/>
          </ac:spMkLst>
        </pc:spChg>
        <pc:spChg chg="add mod">
          <ac:chgData name="Elias Theis" userId="a0f3eff05f862fa8" providerId="LiveId" clId="{63317A22-45FA-4B75-9155-BBD9294EEE73}" dt="2025-02-04T13:08:15.870" v="227"/>
          <ac:spMkLst>
            <pc:docMk/>
            <pc:sldMk cId="4290775995" sldId="1965"/>
            <ac:spMk id="3" creationId="{92751AF6-63B0-6F13-B9F2-588EE6C6283A}"/>
          </ac:spMkLst>
        </pc:spChg>
        <pc:spChg chg="add mod">
          <ac:chgData name="Elias Theis" userId="a0f3eff05f862fa8" providerId="LiveId" clId="{63317A22-45FA-4B75-9155-BBD9294EEE73}" dt="2025-02-04T13:08:15.413" v="226" actId="1037"/>
          <ac:spMkLst>
            <pc:docMk/>
            <pc:sldMk cId="4290775995" sldId="1965"/>
            <ac:spMk id="4" creationId="{02ACC8A8-F6C4-CCFD-3DEA-B80A33658F3A}"/>
          </ac:spMkLst>
        </pc:spChg>
        <pc:spChg chg="mod">
          <ac:chgData name="Elias Theis" userId="a0f3eff05f862fa8" providerId="LiveId" clId="{63317A22-45FA-4B75-9155-BBD9294EEE73}" dt="2025-02-04T13:08:04.911" v="219"/>
          <ac:spMkLst>
            <pc:docMk/>
            <pc:sldMk cId="4290775995" sldId="1965"/>
            <ac:spMk id="9" creationId="{985D4421-4F5A-6BB9-9E78-DCB7C82738C5}"/>
          </ac:spMkLst>
        </pc:spChg>
        <pc:spChg chg="mod">
          <ac:chgData name="Elias Theis" userId="a0f3eff05f862fa8" providerId="LiveId" clId="{63317A22-45FA-4B75-9155-BBD9294EEE73}" dt="2025-02-04T13:08:04.911" v="219"/>
          <ac:spMkLst>
            <pc:docMk/>
            <pc:sldMk cId="4290775995" sldId="1965"/>
            <ac:spMk id="10" creationId="{B8299535-B0BC-38E7-BF71-4192B0D656AA}"/>
          </ac:spMkLst>
        </pc:spChg>
        <pc:spChg chg="mod">
          <ac:chgData name="Elias Theis" userId="a0f3eff05f862fa8" providerId="LiveId" clId="{63317A22-45FA-4B75-9155-BBD9294EEE73}" dt="2025-02-04T13:08:04.911" v="219"/>
          <ac:spMkLst>
            <pc:docMk/>
            <pc:sldMk cId="4290775995" sldId="1965"/>
            <ac:spMk id="11" creationId="{4C9E35FB-5A86-77B1-947D-A6808367AAE2}"/>
          </ac:spMkLst>
        </pc:spChg>
        <pc:spChg chg="add mod">
          <ac:chgData name="Elias Theis" userId="a0f3eff05f862fa8" providerId="LiveId" clId="{63317A22-45FA-4B75-9155-BBD9294EEE73}" dt="2025-02-04T13:08:15.413" v="226" actId="1037"/>
          <ac:spMkLst>
            <pc:docMk/>
            <pc:sldMk cId="4290775995" sldId="1965"/>
            <ac:spMk id="15" creationId="{2FCB50A6-6EB2-D11A-61C6-502D5AC38C6C}"/>
          </ac:spMkLst>
        </pc:spChg>
        <pc:spChg chg="add mod">
          <ac:chgData name="Elias Theis" userId="a0f3eff05f862fa8" providerId="LiveId" clId="{63317A22-45FA-4B75-9155-BBD9294EEE73}" dt="2025-02-04T13:08:15.413" v="226" actId="1037"/>
          <ac:spMkLst>
            <pc:docMk/>
            <pc:sldMk cId="4290775995" sldId="1965"/>
            <ac:spMk id="18" creationId="{178E1A6D-D53A-B493-278D-97EEC1178501}"/>
          </ac:spMkLst>
        </pc:spChg>
        <pc:spChg chg="add mod">
          <ac:chgData name="Elias Theis" userId="a0f3eff05f862fa8" providerId="LiveId" clId="{63317A22-45FA-4B75-9155-BBD9294EEE73}" dt="2025-02-04T13:08:15.413" v="226" actId="1037"/>
          <ac:spMkLst>
            <pc:docMk/>
            <pc:sldMk cId="4290775995" sldId="1965"/>
            <ac:spMk id="21" creationId="{5A1EF079-B7EF-B042-58DC-280487E14F59}"/>
          </ac:spMkLst>
        </pc:spChg>
        <pc:spChg chg="add mod">
          <ac:chgData name="Elias Theis" userId="a0f3eff05f862fa8" providerId="LiveId" clId="{63317A22-45FA-4B75-9155-BBD9294EEE73}" dt="2025-02-04T13:08:15.413" v="226" actId="1037"/>
          <ac:spMkLst>
            <pc:docMk/>
            <pc:sldMk cId="4290775995" sldId="1965"/>
            <ac:spMk id="22" creationId="{6CD9ECE8-6925-1E96-6150-84D44DF50892}"/>
          </ac:spMkLst>
        </pc:spChg>
        <pc:spChg chg="add mod">
          <ac:chgData name="Elias Theis" userId="a0f3eff05f862fa8" providerId="LiveId" clId="{63317A22-45FA-4B75-9155-BBD9294EEE73}" dt="2025-02-04T13:08:14.584" v="224"/>
          <ac:spMkLst>
            <pc:docMk/>
            <pc:sldMk cId="4290775995" sldId="1965"/>
            <ac:spMk id="23" creationId="{42887225-701B-FF4B-B425-73A071F3CB03}"/>
          </ac:spMkLst>
        </pc:spChg>
        <pc:spChg chg="add mod">
          <ac:chgData name="Elias Theis" userId="a0f3eff05f862fa8" providerId="LiveId" clId="{63317A22-45FA-4B75-9155-BBD9294EEE73}" dt="2025-02-04T13:08:14.584" v="224"/>
          <ac:spMkLst>
            <pc:docMk/>
            <pc:sldMk cId="4290775995" sldId="1965"/>
            <ac:spMk id="24" creationId="{E5905232-08D6-A708-93FE-9C4B5BAE8035}"/>
          </ac:spMkLst>
        </pc:spChg>
        <pc:spChg chg="add 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25" creationId="{6D81C293-9B22-57CF-8B49-6BBD96884D5B}"/>
          </ac:spMkLst>
        </pc:spChg>
        <pc:spChg chg="del mod">
          <ac:chgData name="Elias Theis" userId="a0f3eff05f862fa8" providerId="LiveId" clId="{63317A22-45FA-4B75-9155-BBD9294EEE73}" dt="2025-02-04T13:08:21.091" v="229" actId="478"/>
          <ac:spMkLst>
            <pc:docMk/>
            <pc:sldMk cId="4290775995" sldId="1965"/>
            <ac:spMk id="27" creationId="{33A7D1AD-B81A-20AB-7E27-C356E7964E1B}"/>
          </ac:spMkLst>
        </pc:spChg>
        <pc:spChg chg="del">
          <ac:chgData name="Elias Theis" userId="a0f3eff05f862fa8" providerId="LiveId" clId="{63317A22-45FA-4B75-9155-BBD9294EEE73}" dt="2025-02-04T13:08:18.381" v="228" actId="478"/>
          <ac:spMkLst>
            <pc:docMk/>
            <pc:sldMk cId="4290775995" sldId="1965"/>
            <ac:spMk id="28" creationId="{A5C7A559-31E2-F1BD-C637-8EACB4495FCA}"/>
          </ac:spMkLst>
        </pc:spChg>
        <pc:spChg chg="del">
          <ac:chgData name="Elias Theis" userId="a0f3eff05f862fa8" providerId="LiveId" clId="{63317A22-45FA-4B75-9155-BBD9294EEE73}" dt="2025-02-04T13:08:22.100" v="230" actId="478"/>
          <ac:spMkLst>
            <pc:docMk/>
            <pc:sldMk cId="4290775995" sldId="1965"/>
            <ac:spMk id="29" creationId="{50C23DCC-BA82-721D-7713-61F7DC86C01A}"/>
          </ac:spMkLst>
        </pc:spChg>
        <pc:spChg chg="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34" creationId="{CFDF4BD1-A175-24D7-1817-B18FD0325D82}"/>
          </ac:spMkLst>
        </pc:spChg>
        <pc:spChg chg="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35" creationId="{0289846D-5248-15B4-EEFC-D5F738570CAA}"/>
          </ac:spMkLst>
        </pc:spChg>
        <pc:spChg chg="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36" creationId="{ED283CD2-2EC6-DA28-4330-D1BEA7E2CED0}"/>
          </ac:spMkLst>
        </pc:spChg>
        <pc:spChg chg="add 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39" creationId="{26651097-4D8E-1FDA-307D-62A0B798B540}"/>
          </ac:spMkLst>
        </pc:spChg>
        <pc:spChg chg="add 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41" creationId="{E0A628B5-068C-A40E-B46A-405CF32035E7}"/>
          </ac:spMkLst>
        </pc:spChg>
        <pc:spChg chg="add mod">
          <ac:chgData name="Elias Theis" userId="a0f3eff05f862fa8" providerId="LiveId" clId="{63317A22-45FA-4B75-9155-BBD9294EEE73}" dt="2025-02-04T13:08:13.174" v="223"/>
          <ac:spMkLst>
            <pc:docMk/>
            <pc:sldMk cId="4290775995" sldId="1965"/>
            <ac:spMk id="44" creationId="{F054F2B0-34DA-246B-7E02-761ABAEC89FD}"/>
          </ac:spMkLst>
        </pc:spChg>
        <pc:spChg chg="add mod">
          <ac:chgData name="Elias Theis" userId="a0f3eff05f862fa8" providerId="LiveId" clId="{63317A22-45FA-4B75-9155-BBD9294EEE73}" dt="2025-02-04T13:08:14.584" v="224"/>
          <ac:spMkLst>
            <pc:docMk/>
            <pc:sldMk cId="4290775995" sldId="1965"/>
            <ac:spMk id="45" creationId="{AE08A8BE-10BA-07A7-3076-1C6448F5308D}"/>
          </ac:spMkLst>
        </pc:spChg>
        <pc:spChg chg="add mod">
          <ac:chgData name="Elias Theis" userId="a0f3eff05f862fa8" providerId="LiveId" clId="{63317A22-45FA-4B75-9155-BBD9294EEE73}" dt="2025-02-04T13:18:01.594" v="272" actId="1076"/>
          <ac:spMkLst>
            <pc:docMk/>
            <pc:sldMk cId="4290775995" sldId="1965"/>
            <ac:spMk id="46" creationId="{D9B96148-9305-D57E-EA69-C2DD9D6D1305}"/>
          </ac:spMkLst>
        </pc:spChg>
        <pc:spChg chg="add mod">
          <ac:chgData name="Elias Theis" userId="a0f3eff05f862fa8" providerId="LiveId" clId="{63317A22-45FA-4B75-9155-BBD9294EEE73}" dt="2025-02-04T14:01:45.149" v="871" actId="20577"/>
          <ac:spMkLst>
            <pc:docMk/>
            <pc:sldMk cId="4290775995" sldId="1965"/>
            <ac:spMk id="48" creationId="{832BA046-B5C8-3219-A330-0FE35559EF3E}"/>
          </ac:spMkLst>
        </pc:spChg>
        <pc:spChg chg="add mod">
          <ac:chgData name="Elias Theis" userId="a0f3eff05f862fa8" providerId="LiveId" clId="{63317A22-45FA-4B75-9155-BBD9294EEE73}" dt="2025-02-04T13:08:24.145" v="231"/>
          <ac:spMkLst>
            <pc:docMk/>
            <pc:sldMk cId="4290775995" sldId="1965"/>
            <ac:spMk id="49" creationId="{61E6876C-6A9A-E3AF-2530-32088DA52AD6}"/>
          </ac:spMkLst>
        </pc:spChg>
        <pc:spChg chg="mod">
          <ac:chgData name="Elias Theis" userId="a0f3eff05f862fa8" providerId="LiveId" clId="{63317A22-45FA-4B75-9155-BBD9294EEE73}" dt="2025-02-04T13:08:24.145" v="231"/>
          <ac:spMkLst>
            <pc:docMk/>
            <pc:sldMk cId="4290775995" sldId="1965"/>
            <ac:spMk id="54" creationId="{CA19EE51-EA58-6D8E-96E6-D8E4FB9CFA86}"/>
          </ac:spMkLst>
        </pc:spChg>
        <pc:spChg chg="mod">
          <ac:chgData name="Elias Theis" userId="a0f3eff05f862fa8" providerId="LiveId" clId="{63317A22-45FA-4B75-9155-BBD9294EEE73}" dt="2025-02-04T13:08:32.788" v="233" actId="20577"/>
          <ac:spMkLst>
            <pc:docMk/>
            <pc:sldMk cId="4290775995" sldId="1965"/>
            <ac:spMk id="55" creationId="{7D135BE3-F453-5222-CAB1-354573E4E6FC}"/>
          </ac:spMkLst>
        </pc:spChg>
        <pc:spChg chg="mod">
          <ac:chgData name="Elias Theis" userId="a0f3eff05f862fa8" providerId="LiveId" clId="{63317A22-45FA-4B75-9155-BBD9294EEE73}" dt="2025-02-04T13:08:24.145" v="231"/>
          <ac:spMkLst>
            <pc:docMk/>
            <pc:sldMk cId="4290775995" sldId="1965"/>
            <ac:spMk id="56" creationId="{33DEA2B1-59D2-EE27-C44C-75CD5312C6E3}"/>
          </ac:spMkLst>
        </pc:spChg>
        <pc:spChg chg="mod">
          <ac:chgData name="Elias Theis" userId="a0f3eff05f862fa8" providerId="LiveId" clId="{63317A22-45FA-4B75-9155-BBD9294EEE73}" dt="2025-02-04T13:08:34.939" v="235" actId="20577"/>
          <ac:spMkLst>
            <pc:docMk/>
            <pc:sldMk cId="4290775995" sldId="1965"/>
            <ac:spMk id="57" creationId="{6181EB5B-9602-B4CC-28C0-D8FF793AB16D}"/>
          </ac:spMkLst>
        </pc:spChg>
        <pc:spChg chg="add mod">
          <ac:chgData name="Elias Theis" userId="a0f3eff05f862fa8" providerId="LiveId" clId="{63317A22-45FA-4B75-9155-BBD9294EEE73}" dt="2025-02-04T13:18:33.629" v="282" actId="20577"/>
          <ac:spMkLst>
            <pc:docMk/>
            <pc:sldMk cId="4290775995" sldId="1965"/>
            <ac:spMk id="60" creationId="{8D859B28-3680-B1BC-8AC9-D27C1D5F5364}"/>
          </ac:spMkLst>
        </pc:spChg>
        <pc:spChg chg="add mod">
          <ac:chgData name="Elias Theis" userId="a0f3eff05f862fa8" providerId="LiveId" clId="{63317A22-45FA-4B75-9155-BBD9294EEE73}" dt="2025-02-04T13:17:44.307" v="269" actId="1036"/>
          <ac:spMkLst>
            <pc:docMk/>
            <pc:sldMk cId="4290775995" sldId="1965"/>
            <ac:spMk id="62" creationId="{6F5810FB-6722-985D-107A-3EFCEFA978E7}"/>
          </ac:spMkLst>
        </pc:spChg>
        <pc:spChg chg="add mod">
          <ac:chgData name="Elias Theis" userId="a0f3eff05f862fa8" providerId="LiveId" clId="{63317A22-45FA-4B75-9155-BBD9294EEE73}" dt="2025-02-04T13:17:44.307" v="269" actId="1036"/>
          <ac:spMkLst>
            <pc:docMk/>
            <pc:sldMk cId="4290775995" sldId="1965"/>
            <ac:spMk id="65" creationId="{98082CDC-1E83-4771-BAC4-1C2BA4FB24A7}"/>
          </ac:spMkLst>
        </pc:spChg>
        <pc:spChg chg="add mod">
          <ac:chgData name="Elias Theis" userId="a0f3eff05f862fa8" providerId="LiveId" clId="{63317A22-45FA-4B75-9155-BBD9294EEE73}" dt="2025-02-04T13:08:24.145" v="231"/>
          <ac:spMkLst>
            <pc:docMk/>
            <pc:sldMk cId="4290775995" sldId="1965"/>
            <ac:spMk id="66" creationId="{53062DD0-E5F9-340D-4362-89DEF5C2EADC}"/>
          </ac:spMkLst>
        </pc:spChg>
        <pc:spChg chg="add mod">
          <ac:chgData name="Elias Theis" userId="a0f3eff05f862fa8" providerId="LiveId" clId="{63317A22-45FA-4B75-9155-BBD9294EEE73}" dt="2025-02-04T13:19:40.044" v="310" actId="20577"/>
          <ac:spMkLst>
            <pc:docMk/>
            <pc:sldMk cId="4290775995" sldId="1965"/>
            <ac:spMk id="69" creationId="{4F12F9FC-835B-0748-FB1D-D936AA4EE237}"/>
          </ac:spMkLst>
        </pc:spChg>
        <pc:grpChg chg="mod">
          <ac:chgData name="Elias Theis" userId="a0f3eff05f862fa8" providerId="LiveId" clId="{63317A22-45FA-4B75-9155-BBD9294EEE73}" dt="2025-02-04T13:17:34.924" v="265" actId="1035"/>
          <ac:grpSpMkLst>
            <pc:docMk/>
            <pc:sldMk cId="4290775995" sldId="1965"/>
            <ac:grpSpMk id="50" creationId="{43530690-0E33-DCBC-763F-89C62E160EAC}"/>
          </ac:grpSpMkLst>
        </pc:grpChg>
        <pc:picChg chg="mod">
          <ac:chgData name="Elias Theis" userId="a0f3eff05f862fa8" providerId="LiveId" clId="{63317A22-45FA-4B75-9155-BBD9294EEE73}" dt="2025-02-04T13:08:15.413" v="226" actId="1037"/>
          <ac:picMkLst>
            <pc:docMk/>
            <pc:sldMk cId="4290775995" sldId="1965"/>
            <ac:picMk id="13" creationId="{243AC818-B52C-65FB-35D8-A6224A384300}"/>
          </ac:picMkLst>
        </pc:picChg>
        <pc:picChg chg="mod">
          <ac:chgData name="Elias Theis" userId="a0f3eff05f862fa8" providerId="LiveId" clId="{63317A22-45FA-4B75-9155-BBD9294EEE73}" dt="2025-02-04T13:08:15.413" v="226" actId="1037"/>
          <ac:picMkLst>
            <pc:docMk/>
            <pc:sldMk cId="4290775995" sldId="1965"/>
            <ac:picMk id="19" creationId="{C6E8C360-E58A-4EEC-DFA8-488E474790AC}"/>
          </ac:picMkLst>
        </pc:picChg>
        <pc:picChg chg="mod">
          <ac:chgData name="Elias Theis" userId="a0f3eff05f862fa8" providerId="LiveId" clId="{63317A22-45FA-4B75-9155-BBD9294EEE73}" dt="2025-02-04T13:08:15.413" v="226" actId="1037"/>
          <ac:picMkLst>
            <pc:docMk/>
            <pc:sldMk cId="4290775995" sldId="1965"/>
            <ac:picMk id="20" creationId="{38D49B43-72CD-AB10-5B29-4D2515937EDB}"/>
          </ac:picMkLst>
        </pc:picChg>
        <pc:picChg chg="mod">
          <ac:chgData name="Elias Theis" userId="a0f3eff05f862fa8" providerId="LiveId" clId="{63317A22-45FA-4B75-9155-BBD9294EEE73}" dt="2025-02-04T13:17:57.134" v="271" actId="1076"/>
          <ac:picMkLst>
            <pc:docMk/>
            <pc:sldMk cId="4290775995" sldId="1965"/>
            <ac:picMk id="58" creationId="{28C71314-33D3-F132-BFC3-73DD7464DD5E}"/>
          </ac:picMkLst>
        </pc:picChg>
        <pc:picChg chg="mod">
          <ac:chgData name="Elias Theis" userId="a0f3eff05f862fa8" providerId="LiveId" clId="{63317A22-45FA-4B75-9155-BBD9294EEE73}" dt="2025-02-04T13:17:44.307" v="269" actId="1036"/>
          <ac:picMkLst>
            <pc:docMk/>
            <pc:sldMk cId="4290775995" sldId="1965"/>
            <ac:picMk id="59" creationId="{80383E2D-2DD7-A895-1B56-D7AF75462AC9}"/>
          </ac:picMkLst>
        </pc:picChg>
        <pc:picChg chg="mod">
          <ac:chgData name="Elias Theis" userId="a0f3eff05f862fa8" providerId="LiveId" clId="{63317A22-45FA-4B75-9155-BBD9294EEE73}" dt="2025-02-04T13:17:44.307" v="269" actId="1036"/>
          <ac:picMkLst>
            <pc:docMk/>
            <pc:sldMk cId="4290775995" sldId="1965"/>
            <ac:picMk id="61" creationId="{BD1864D7-AABB-12DF-16C5-9E4542095C2E}"/>
          </ac:picMkLst>
        </pc:picChg>
        <pc:picChg chg="del">
          <ac:chgData name="Elias Theis" userId="a0f3eff05f862fa8" providerId="LiveId" clId="{63317A22-45FA-4B75-9155-BBD9294EEE73}" dt="2025-02-04T13:46:58.548" v="440" actId="478"/>
          <ac:picMkLst>
            <pc:docMk/>
            <pc:sldMk cId="4290775995" sldId="1965"/>
            <ac:picMk id="63" creationId="{548E73EB-89C6-827C-7C66-BE3C8DCD0D4F}"/>
          </ac:picMkLst>
        </pc:picChg>
        <pc:picChg chg="mod">
          <ac:chgData name="Elias Theis" userId="a0f3eff05f862fa8" providerId="LiveId" clId="{63317A22-45FA-4B75-9155-BBD9294EEE73}" dt="2025-02-04T13:17:44.307" v="269" actId="1036"/>
          <ac:picMkLst>
            <pc:docMk/>
            <pc:sldMk cId="4290775995" sldId="1965"/>
            <ac:picMk id="64" creationId="{9CEA5CD8-B5EF-E7B8-E49F-BB7D4549C876}"/>
          </ac:picMkLst>
        </pc:picChg>
        <pc:picChg chg="add mod">
          <ac:chgData name="Elias Theis" userId="a0f3eff05f862fa8" providerId="LiveId" clId="{63317A22-45FA-4B75-9155-BBD9294EEE73}" dt="2025-02-04T13:17:53.153" v="270" actId="1076"/>
          <ac:picMkLst>
            <pc:docMk/>
            <pc:sldMk cId="4290775995" sldId="1965"/>
            <ac:picMk id="68" creationId="{3E32DAD4-288D-24E2-11D4-B2FD3734CEA6}"/>
          </ac:picMkLst>
        </pc:picChg>
        <pc:picChg chg="add mod modCrop">
          <ac:chgData name="Elias Theis" userId="a0f3eff05f862fa8" providerId="LiveId" clId="{63317A22-45FA-4B75-9155-BBD9294EEE73}" dt="2025-02-04T13:47:36.553" v="452" actId="1076"/>
          <ac:picMkLst>
            <pc:docMk/>
            <pc:sldMk cId="4290775995" sldId="1965"/>
            <ac:picMk id="71" creationId="{6D428622-DF51-8E81-42B6-875DBAEBB99E}"/>
          </ac:picMkLst>
        </pc:picChg>
      </pc:sldChg>
      <pc:sldChg chg="del">
        <pc:chgData name="Elias Theis" userId="a0f3eff05f862fa8" providerId="LiveId" clId="{63317A22-45FA-4B75-9155-BBD9294EEE73}" dt="2025-01-29T12:50:00.519" v="102" actId="47"/>
        <pc:sldMkLst>
          <pc:docMk/>
          <pc:sldMk cId="65589274" sldId="1966"/>
        </pc:sldMkLst>
      </pc:sldChg>
      <pc:sldChg chg="del">
        <pc:chgData name="Elias Theis" userId="a0f3eff05f862fa8" providerId="LiveId" clId="{63317A22-45FA-4B75-9155-BBD9294EEE73}" dt="2025-01-29T12:49:57.888" v="101" actId="47"/>
        <pc:sldMkLst>
          <pc:docMk/>
          <pc:sldMk cId="1414254958" sldId="1967"/>
        </pc:sldMkLst>
      </pc:sldChg>
      <pc:sldChg chg="modSp mod">
        <pc:chgData name="Elias Theis" userId="a0f3eff05f862fa8" providerId="LiveId" clId="{63317A22-45FA-4B75-9155-BBD9294EEE73}" dt="2025-01-29T12:49:52.506" v="100" actId="20577"/>
        <pc:sldMkLst>
          <pc:docMk/>
          <pc:sldMk cId="2537784711" sldId="1968"/>
        </pc:sldMkLst>
        <pc:spChg chg="mod">
          <ac:chgData name="Elias Theis" userId="a0f3eff05f862fa8" providerId="LiveId" clId="{63317A22-45FA-4B75-9155-BBD9294EEE73}" dt="2025-01-29T12:49:52.506" v="100" actId="20577"/>
          <ac:spMkLst>
            <pc:docMk/>
            <pc:sldMk cId="2537784711" sldId="1968"/>
            <ac:spMk id="10" creationId="{AAEFC535-B86D-1857-59CE-AC8A1159B842}"/>
          </ac:spMkLst>
        </pc:spChg>
      </pc:sldChg>
      <pc:sldChg chg="addSp delSp modSp new mod modNotesTx">
        <pc:chgData name="Elias Theis" userId="a0f3eff05f862fa8" providerId="LiveId" clId="{63317A22-45FA-4B75-9155-BBD9294EEE73}" dt="2025-02-04T13:52:29.773" v="627" actId="20577"/>
        <pc:sldMkLst>
          <pc:docMk/>
          <pc:sldMk cId="2772365084" sldId="1969"/>
        </pc:sldMkLst>
        <pc:spChg chg="del">
          <ac:chgData name="Elias Theis" userId="a0f3eff05f862fa8" providerId="LiveId" clId="{63317A22-45FA-4B75-9155-BBD9294EEE73}" dt="2025-02-04T13:26:11.716" v="341" actId="478"/>
          <ac:spMkLst>
            <pc:docMk/>
            <pc:sldMk cId="2772365084" sldId="1969"/>
            <ac:spMk id="2" creationId="{981E1C31-C744-98BA-FD72-CFC457090E9E}"/>
          </ac:spMkLst>
        </pc:spChg>
        <pc:spChg chg="mod">
          <ac:chgData name="Elias Theis" userId="a0f3eff05f862fa8" providerId="LiveId" clId="{63317A22-45FA-4B75-9155-BBD9294EEE73}" dt="2025-02-04T13:52:29.773" v="627" actId="20577"/>
          <ac:spMkLst>
            <pc:docMk/>
            <pc:sldMk cId="2772365084" sldId="1969"/>
            <ac:spMk id="3" creationId="{EEB9E9C5-73AD-07DA-13E8-F84FB38357BE}"/>
          </ac:spMkLst>
        </pc:spChg>
        <pc:spChg chg="mod">
          <ac:chgData name="Elias Theis" userId="a0f3eff05f862fa8" providerId="LiveId" clId="{63317A22-45FA-4B75-9155-BBD9294EEE73}" dt="2025-02-04T13:52:19.941" v="587" actId="20577"/>
          <ac:spMkLst>
            <pc:docMk/>
            <pc:sldMk cId="2772365084" sldId="1969"/>
            <ac:spMk id="4" creationId="{B702DBE2-62A7-C6C8-8C27-12A4958DAC98}"/>
          </ac:spMkLst>
        </pc:spChg>
        <pc:spChg chg="add mod">
          <ac:chgData name="Elias Theis" userId="a0f3eff05f862fa8" providerId="LiveId" clId="{63317A22-45FA-4B75-9155-BBD9294EEE73}" dt="2025-02-04T13:49:52.240" v="542" actId="21"/>
          <ac:spMkLst>
            <pc:docMk/>
            <pc:sldMk cId="2772365084" sldId="1969"/>
            <ac:spMk id="7" creationId="{949DF0B2-9BDE-1317-9EB8-AE070FF01ADE}"/>
          </ac:spMkLst>
        </pc:spChg>
        <pc:picChg chg="add mod">
          <ac:chgData name="Elias Theis" userId="a0f3eff05f862fa8" providerId="LiveId" clId="{63317A22-45FA-4B75-9155-BBD9294EEE73}" dt="2025-02-04T13:50:03.883" v="545" actId="1076"/>
          <ac:picMkLst>
            <pc:docMk/>
            <pc:sldMk cId="2772365084" sldId="1969"/>
            <ac:picMk id="6" creationId="{E98B42B9-516A-C6F4-8E93-9314FA7D8FCF}"/>
          </ac:picMkLst>
        </pc:picChg>
      </pc:sldChg>
      <pc:sldChg chg="addSp delSp modSp new mod">
        <pc:chgData name="Elias Theis" userId="a0f3eff05f862fa8" providerId="LiveId" clId="{63317A22-45FA-4B75-9155-BBD9294EEE73}" dt="2025-02-04T13:58:15.454" v="818" actId="20577"/>
        <pc:sldMkLst>
          <pc:docMk/>
          <pc:sldMk cId="2540880004" sldId="1970"/>
        </pc:sldMkLst>
        <pc:spChg chg="del">
          <ac:chgData name="Elias Theis" userId="a0f3eff05f862fa8" providerId="LiveId" clId="{63317A22-45FA-4B75-9155-BBD9294EEE73}" dt="2025-02-04T13:56:10.253" v="734" actId="478"/>
          <ac:spMkLst>
            <pc:docMk/>
            <pc:sldMk cId="2540880004" sldId="1970"/>
            <ac:spMk id="2" creationId="{E3F32026-7F00-5007-7EEE-9215346DF318}"/>
          </ac:spMkLst>
        </pc:spChg>
        <pc:spChg chg="mod">
          <ac:chgData name="Elias Theis" userId="a0f3eff05f862fa8" providerId="LiveId" clId="{63317A22-45FA-4B75-9155-BBD9294EEE73}" dt="2025-02-04T13:58:15.454" v="818" actId="20577"/>
          <ac:spMkLst>
            <pc:docMk/>
            <pc:sldMk cId="2540880004" sldId="1970"/>
            <ac:spMk id="3" creationId="{BCAB5289-8F94-D124-30ED-7341FF3D35ED}"/>
          </ac:spMkLst>
        </pc:spChg>
        <pc:spChg chg="mod">
          <ac:chgData name="Elias Theis" userId="a0f3eff05f862fa8" providerId="LiveId" clId="{63317A22-45FA-4B75-9155-BBD9294EEE73}" dt="2025-02-04T13:57:50.373" v="762" actId="20577"/>
          <ac:spMkLst>
            <pc:docMk/>
            <pc:sldMk cId="2540880004" sldId="1970"/>
            <ac:spMk id="4" creationId="{2130BE33-2EF6-8FC6-5941-149A6BF821C5}"/>
          </ac:spMkLst>
        </pc:spChg>
        <pc:picChg chg="add mod">
          <ac:chgData name="Elias Theis" userId="a0f3eff05f862fa8" providerId="LiveId" clId="{63317A22-45FA-4B75-9155-BBD9294EEE73}" dt="2025-02-04T13:56:07.450" v="733" actId="1076"/>
          <ac:picMkLst>
            <pc:docMk/>
            <pc:sldMk cId="2540880004" sldId="1970"/>
            <ac:picMk id="6" creationId="{69115CDB-7588-69FC-FCB4-CFB845CA3F39}"/>
          </ac:picMkLst>
        </pc:picChg>
      </pc:sldChg>
      <pc:sldChg chg="addSp modSp new del mod ord">
        <pc:chgData name="Elias Theis" userId="a0f3eff05f862fa8" providerId="LiveId" clId="{63317A22-45FA-4B75-9155-BBD9294EEE73}" dt="2025-02-04T16:07:28.568" v="2400" actId="47"/>
        <pc:sldMkLst>
          <pc:docMk/>
          <pc:sldMk cId="79396227" sldId="1971"/>
        </pc:sldMkLst>
        <pc:picChg chg="add mod">
          <ac:chgData name="Elias Theis" userId="a0f3eff05f862fa8" providerId="LiveId" clId="{63317A22-45FA-4B75-9155-BBD9294EEE73}" dt="2025-02-04T13:24:21.425" v="325" actId="14100"/>
          <ac:picMkLst>
            <pc:docMk/>
            <pc:sldMk cId="79396227" sldId="1971"/>
            <ac:picMk id="3" creationId="{12554C06-3957-F127-E800-4EC0661D08FD}"/>
          </ac:picMkLst>
        </pc:picChg>
        <pc:picChg chg="add mod">
          <ac:chgData name="Elias Theis" userId="a0f3eff05f862fa8" providerId="LiveId" clId="{63317A22-45FA-4B75-9155-BBD9294EEE73}" dt="2025-02-04T13:23:50.396" v="317" actId="1076"/>
          <ac:picMkLst>
            <pc:docMk/>
            <pc:sldMk cId="79396227" sldId="1971"/>
            <ac:picMk id="6" creationId="{F9CBEB49-0BA4-2CF8-DAFB-B30527B6CAC6}"/>
          </ac:picMkLst>
        </pc:picChg>
        <pc:picChg chg="add mod">
          <ac:chgData name="Elias Theis" userId="a0f3eff05f862fa8" providerId="LiveId" clId="{63317A22-45FA-4B75-9155-BBD9294EEE73}" dt="2025-02-04T13:23:56.737" v="321" actId="1076"/>
          <ac:picMkLst>
            <pc:docMk/>
            <pc:sldMk cId="79396227" sldId="1971"/>
            <ac:picMk id="10" creationId="{303F3D4D-3438-86E9-7FFE-73ECF0C357D5}"/>
          </ac:picMkLst>
        </pc:picChg>
        <pc:picChg chg="add mod">
          <ac:chgData name="Elias Theis" userId="a0f3eff05f862fa8" providerId="LiveId" clId="{63317A22-45FA-4B75-9155-BBD9294EEE73}" dt="2025-02-04T13:23:49.029" v="316" actId="1076"/>
          <ac:picMkLst>
            <pc:docMk/>
            <pc:sldMk cId="79396227" sldId="1971"/>
            <ac:picMk id="12" creationId="{784587C0-EB0E-C77C-7448-59A9B5FC307F}"/>
          </ac:picMkLst>
        </pc:picChg>
        <pc:picChg chg="add mod">
          <ac:chgData name="Elias Theis" userId="a0f3eff05f862fa8" providerId="LiveId" clId="{63317A22-45FA-4B75-9155-BBD9294EEE73}" dt="2025-02-04T13:23:57.809" v="322" actId="1076"/>
          <ac:picMkLst>
            <pc:docMk/>
            <pc:sldMk cId="79396227" sldId="1971"/>
            <ac:picMk id="1026" creationId="{236FA92B-06F6-99C9-D1AF-8CC09D496622}"/>
          </ac:picMkLst>
        </pc:picChg>
      </pc:sldChg>
      <pc:sldChg chg="addSp delSp modSp new mod">
        <pc:chgData name="Elias Theis" userId="a0f3eff05f862fa8" providerId="LiveId" clId="{63317A22-45FA-4B75-9155-BBD9294EEE73}" dt="2025-02-04T14:01:50.858" v="872"/>
        <pc:sldMkLst>
          <pc:docMk/>
          <pc:sldMk cId="3720870294" sldId="1972"/>
        </pc:sldMkLst>
        <pc:spChg chg="del">
          <ac:chgData name="Elias Theis" userId="a0f3eff05f862fa8" providerId="LiveId" clId="{63317A22-45FA-4B75-9155-BBD9294EEE73}" dt="2025-02-04T13:45:43.021" v="434" actId="478"/>
          <ac:spMkLst>
            <pc:docMk/>
            <pc:sldMk cId="3720870294" sldId="1972"/>
            <ac:spMk id="2" creationId="{74A5149D-EEEA-36AE-F382-7E1B9BE1934F}"/>
          </ac:spMkLst>
        </pc:spChg>
        <pc:spChg chg="del">
          <ac:chgData name="Elias Theis" userId="a0f3eff05f862fa8" providerId="LiveId" clId="{63317A22-45FA-4B75-9155-BBD9294EEE73}" dt="2025-02-04T13:45:44.324" v="435" actId="478"/>
          <ac:spMkLst>
            <pc:docMk/>
            <pc:sldMk cId="3720870294" sldId="1972"/>
            <ac:spMk id="3" creationId="{87C86C0B-6639-BDD9-B405-89BB6ABDF8BC}"/>
          </ac:spMkLst>
        </pc:spChg>
        <pc:spChg chg="del">
          <ac:chgData name="Elias Theis" userId="a0f3eff05f862fa8" providerId="LiveId" clId="{63317A22-45FA-4B75-9155-BBD9294EEE73}" dt="2025-02-04T13:45:45.229" v="436" actId="478"/>
          <ac:spMkLst>
            <pc:docMk/>
            <pc:sldMk cId="3720870294" sldId="1972"/>
            <ac:spMk id="4" creationId="{0AC3B888-3AE0-9826-644C-B4C4E61F11EA}"/>
          </ac:spMkLst>
        </pc:spChg>
        <pc:spChg chg="add mod">
          <ac:chgData name="Elias Theis" userId="a0f3eff05f862fa8" providerId="LiveId" clId="{63317A22-45FA-4B75-9155-BBD9294EEE73}" dt="2025-02-04T14:01:50.858" v="872"/>
          <ac:spMkLst>
            <pc:docMk/>
            <pc:sldMk cId="3720870294" sldId="1972"/>
            <ac:spMk id="7" creationId="{2E4C6156-72B3-6E69-2994-2A2103FD5C61}"/>
          </ac:spMkLst>
        </pc:spChg>
        <pc:picChg chg="add mod modCrop">
          <ac:chgData name="Elias Theis" userId="a0f3eff05f862fa8" providerId="LiveId" clId="{63317A22-45FA-4B75-9155-BBD9294EEE73}" dt="2025-02-04T13:45:59.107" v="439" actId="1076"/>
          <ac:picMkLst>
            <pc:docMk/>
            <pc:sldMk cId="3720870294" sldId="1972"/>
            <ac:picMk id="6" creationId="{50BC7F49-B3A4-7EC8-56EE-4F5D326F8524}"/>
          </ac:picMkLst>
        </pc:picChg>
      </pc:sldChg>
      <pc:sldChg chg="addSp delSp modSp add mod">
        <pc:chgData name="Elias Theis" userId="a0f3eff05f862fa8" providerId="LiveId" clId="{63317A22-45FA-4B75-9155-BBD9294EEE73}" dt="2025-02-04T13:52:39.301" v="662" actId="20577"/>
        <pc:sldMkLst>
          <pc:docMk/>
          <pc:sldMk cId="3159407779" sldId="1973"/>
        </pc:sldMkLst>
        <pc:spChg chg="mod">
          <ac:chgData name="Elias Theis" userId="a0f3eff05f862fa8" providerId="LiveId" clId="{63317A22-45FA-4B75-9155-BBD9294EEE73}" dt="2025-02-04T13:52:39.301" v="662" actId="20577"/>
          <ac:spMkLst>
            <pc:docMk/>
            <pc:sldMk cId="3159407779" sldId="1973"/>
            <ac:spMk id="3" creationId="{CCEF239E-CB20-089E-A49C-93B3C36C70A3}"/>
          </ac:spMkLst>
        </pc:spChg>
        <pc:spChg chg="mod">
          <ac:chgData name="Elias Theis" userId="a0f3eff05f862fa8" providerId="LiveId" clId="{63317A22-45FA-4B75-9155-BBD9294EEE73}" dt="2025-02-04T13:52:33.717" v="639" actId="20577"/>
          <ac:spMkLst>
            <pc:docMk/>
            <pc:sldMk cId="3159407779" sldId="1973"/>
            <ac:spMk id="4" creationId="{5ED30C6E-F408-9BE9-BFD9-E4F2C83F7CAA}"/>
          </ac:spMkLst>
        </pc:spChg>
        <pc:picChg chg="add mod">
          <ac:chgData name="Elias Theis" userId="a0f3eff05f862fa8" providerId="LiveId" clId="{63317A22-45FA-4B75-9155-BBD9294EEE73}" dt="2025-02-04T13:51:03.035" v="554" actId="1076"/>
          <ac:picMkLst>
            <pc:docMk/>
            <pc:sldMk cId="3159407779" sldId="1973"/>
            <ac:picMk id="5" creationId="{7C2E5C1A-03F6-1E58-3386-B9767926C631}"/>
          </ac:picMkLst>
        </pc:picChg>
        <pc:picChg chg="del">
          <ac:chgData name="Elias Theis" userId="a0f3eff05f862fa8" providerId="LiveId" clId="{63317A22-45FA-4B75-9155-BBD9294EEE73}" dt="2025-02-04T13:50:25.316" v="547" actId="478"/>
          <ac:picMkLst>
            <pc:docMk/>
            <pc:sldMk cId="3159407779" sldId="1973"/>
            <ac:picMk id="6" creationId="{0D18DAB0-CF48-3516-1435-711F1D9B556D}"/>
          </ac:picMkLst>
        </pc:picChg>
      </pc:sldChg>
      <pc:sldChg chg="addSp delSp modSp add mod">
        <pc:chgData name="Elias Theis" userId="a0f3eff05f862fa8" providerId="LiveId" clId="{63317A22-45FA-4B75-9155-BBD9294EEE73}" dt="2025-02-04T13:53:44.325" v="700" actId="1076"/>
        <pc:sldMkLst>
          <pc:docMk/>
          <pc:sldMk cId="3357097666" sldId="1974"/>
        </pc:sldMkLst>
        <pc:spChg chg="mod">
          <ac:chgData name="Elias Theis" userId="a0f3eff05f862fa8" providerId="LiveId" clId="{63317A22-45FA-4B75-9155-BBD9294EEE73}" dt="2025-02-04T13:53:29.085" v="698" actId="20577"/>
          <ac:spMkLst>
            <pc:docMk/>
            <pc:sldMk cId="3357097666" sldId="1974"/>
            <ac:spMk id="3" creationId="{45FB436F-F443-47F3-5F33-0C83EC2BBD99}"/>
          </ac:spMkLst>
        </pc:spChg>
        <pc:spChg chg="mod">
          <ac:chgData name="Elias Theis" userId="a0f3eff05f862fa8" providerId="LiveId" clId="{63317A22-45FA-4B75-9155-BBD9294EEE73}" dt="2025-02-04T13:52:09.357" v="571" actId="20577"/>
          <ac:spMkLst>
            <pc:docMk/>
            <pc:sldMk cId="3357097666" sldId="1974"/>
            <ac:spMk id="4" creationId="{1A5B976C-105F-3BEF-8524-627FA22E5286}"/>
          </ac:spMkLst>
        </pc:spChg>
        <pc:picChg chg="del">
          <ac:chgData name="Elias Theis" userId="a0f3eff05f862fa8" providerId="LiveId" clId="{63317A22-45FA-4B75-9155-BBD9294EEE73}" dt="2025-02-04T13:51:20.973" v="556" actId="478"/>
          <ac:picMkLst>
            <pc:docMk/>
            <pc:sldMk cId="3357097666" sldId="1974"/>
            <ac:picMk id="5" creationId="{3A85114A-9171-1863-F209-E8C3B2489AE9}"/>
          </ac:picMkLst>
        </pc:picChg>
        <pc:picChg chg="add mod">
          <ac:chgData name="Elias Theis" userId="a0f3eff05f862fa8" providerId="LiveId" clId="{63317A22-45FA-4B75-9155-BBD9294EEE73}" dt="2025-02-04T13:53:44.325" v="700" actId="1076"/>
          <ac:picMkLst>
            <pc:docMk/>
            <pc:sldMk cId="3357097666" sldId="1974"/>
            <ac:picMk id="6" creationId="{513B6DE1-2E12-76EA-82C5-9278A1BB74C1}"/>
          </ac:picMkLst>
        </pc:picChg>
      </pc:sldChg>
      <pc:sldChg chg="addSp delSp modSp new mod">
        <pc:chgData name="Elias Theis" userId="a0f3eff05f862fa8" providerId="LiveId" clId="{63317A22-45FA-4B75-9155-BBD9294EEE73}" dt="2025-02-04T14:37:31.638" v="1736" actId="478"/>
        <pc:sldMkLst>
          <pc:docMk/>
          <pc:sldMk cId="795964873" sldId="1975"/>
        </pc:sldMkLst>
        <pc:spChg chg="del">
          <ac:chgData name="Elias Theis" userId="a0f3eff05f862fa8" providerId="LiveId" clId="{63317A22-45FA-4B75-9155-BBD9294EEE73}" dt="2025-02-04T14:37:31.638" v="1736" actId="478"/>
          <ac:spMkLst>
            <pc:docMk/>
            <pc:sldMk cId="795964873" sldId="1975"/>
            <ac:spMk id="2" creationId="{877D196E-9E86-CE1B-D648-BB47055BF4AB}"/>
          </ac:spMkLst>
        </pc:spChg>
        <pc:spChg chg="mod">
          <ac:chgData name="Elias Theis" userId="a0f3eff05f862fa8" providerId="LiveId" clId="{63317A22-45FA-4B75-9155-BBD9294EEE73}" dt="2025-02-04T14:37:21.463" v="1733" actId="20577"/>
          <ac:spMkLst>
            <pc:docMk/>
            <pc:sldMk cId="795964873" sldId="1975"/>
            <ac:spMk id="3" creationId="{6663FF93-6F1E-B87D-B54D-9B15E003E196}"/>
          </ac:spMkLst>
        </pc:spChg>
        <pc:spChg chg="mod">
          <ac:chgData name="Elias Theis" userId="a0f3eff05f862fa8" providerId="LiveId" clId="{63317A22-45FA-4B75-9155-BBD9294EEE73}" dt="2025-02-04T14:33:49.463" v="1707" actId="20577"/>
          <ac:spMkLst>
            <pc:docMk/>
            <pc:sldMk cId="795964873" sldId="1975"/>
            <ac:spMk id="4" creationId="{7035754E-63F5-3D58-D655-50863A8B52D1}"/>
          </ac:spMkLst>
        </pc:spChg>
        <pc:picChg chg="add del mod modCrop">
          <ac:chgData name="Elias Theis" userId="a0f3eff05f862fa8" providerId="LiveId" clId="{63317A22-45FA-4B75-9155-BBD9294EEE73}" dt="2025-02-04T14:34:05.486" v="1708" actId="478"/>
          <ac:picMkLst>
            <pc:docMk/>
            <pc:sldMk cId="795964873" sldId="1975"/>
            <ac:picMk id="6" creationId="{966D19AF-51F9-2B6B-66A2-1D73272CBF7F}"/>
          </ac:picMkLst>
        </pc:picChg>
        <pc:picChg chg="add mod modCrop">
          <ac:chgData name="Elias Theis" userId="a0f3eff05f862fa8" providerId="LiveId" clId="{63317A22-45FA-4B75-9155-BBD9294EEE73}" dt="2025-02-04T14:37:29.474" v="1735" actId="1076"/>
          <ac:picMkLst>
            <pc:docMk/>
            <pc:sldMk cId="795964873" sldId="1975"/>
            <ac:picMk id="8" creationId="{35563A3C-D4DA-BBAB-E9B2-3D41E8C8DCBF}"/>
          </ac:picMkLst>
        </pc:picChg>
      </pc:sldChg>
      <pc:sldChg chg="addSp delSp modSp new mod">
        <pc:chgData name="Elias Theis" userId="a0f3eff05f862fa8" providerId="LiveId" clId="{63317A22-45FA-4B75-9155-BBD9294EEE73}" dt="2025-02-04T15:53:38.856" v="2191" actId="20577"/>
        <pc:sldMkLst>
          <pc:docMk/>
          <pc:sldMk cId="3667187562" sldId="1976"/>
        </pc:sldMkLst>
        <pc:spChg chg="mod">
          <ac:chgData name="Elias Theis" userId="a0f3eff05f862fa8" providerId="LiveId" clId="{63317A22-45FA-4B75-9155-BBD9294EEE73}" dt="2025-02-04T14:14:41.830" v="1175" actId="20577"/>
          <ac:spMkLst>
            <pc:docMk/>
            <pc:sldMk cId="3667187562" sldId="1976"/>
            <ac:spMk id="2" creationId="{9D3F7453-9068-F474-796B-79D4A4E5E941}"/>
          </ac:spMkLst>
        </pc:spChg>
        <pc:spChg chg="mod">
          <ac:chgData name="Elias Theis" userId="a0f3eff05f862fa8" providerId="LiveId" clId="{63317A22-45FA-4B75-9155-BBD9294EEE73}" dt="2025-02-04T14:02:16.765" v="886" actId="20577"/>
          <ac:spMkLst>
            <pc:docMk/>
            <pc:sldMk cId="3667187562" sldId="1976"/>
            <ac:spMk id="3" creationId="{5AB92911-F30A-404D-F9E0-B4C0EEFCD384}"/>
          </ac:spMkLst>
        </pc:spChg>
        <pc:spChg chg="mod">
          <ac:chgData name="Elias Theis" userId="a0f3eff05f862fa8" providerId="LiveId" clId="{63317A22-45FA-4B75-9155-BBD9294EEE73}" dt="2025-02-04T14:01:31.006" v="845" actId="20577"/>
          <ac:spMkLst>
            <pc:docMk/>
            <pc:sldMk cId="3667187562" sldId="1976"/>
            <ac:spMk id="4" creationId="{63F36752-153C-C077-06E3-025815A03FFB}"/>
          </ac:spMkLst>
        </pc:spChg>
        <pc:spChg chg="add mod">
          <ac:chgData name="Elias Theis" userId="a0f3eff05f862fa8" providerId="LiveId" clId="{63317A22-45FA-4B75-9155-BBD9294EEE73}" dt="2025-02-04T14:22:19.334" v="1429" actId="1036"/>
          <ac:spMkLst>
            <pc:docMk/>
            <pc:sldMk cId="3667187562" sldId="1976"/>
            <ac:spMk id="5" creationId="{5C19B4D8-27B3-E826-05B7-B57C3AF7D450}"/>
          </ac:spMkLst>
        </pc:spChg>
        <pc:spChg chg="add mod">
          <ac:chgData name="Elias Theis" userId="a0f3eff05f862fa8" providerId="LiveId" clId="{63317A22-45FA-4B75-9155-BBD9294EEE73}" dt="2025-02-04T15:53:38.856" v="2191" actId="20577"/>
          <ac:spMkLst>
            <pc:docMk/>
            <pc:sldMk cId="3667187562" sldId="1976"/>
            <ac:spMk id="6" creationId="{FC6C1795-2D37-099C-3DF5-E2F1946D98D3}"/>
          </ac:spMkLst>
        </pc:spChg>
        <pc:spChg chg="add del">
          <ac:chgData name="Elias Theis" userId="a0f3eff05f862fa8" providerId="LiveId" clId="{63317A22-45FA-4B75-9155-BBD9294EEE73}" dt="2025-02-04T14:06:24.734" v="971" actId="478"/>
          <ac:spMkLst>
            <pc:docMk/>
            <pc:sldMk cId="3667187562" sldId="1976"/>
            <ac:spMk id="7" creationId="{99313188-541C-D13E-BE17-2BB1BD300A94}"/>
          </ac:spMkLst>
        </pc:spChg>
        <pc:spChg chg="add mod">
          <ac:chgData name="Elias Theis" userId="a0f3eff05f862fa8" providerId="LiveId" clId="{63317A22-45FA-4B75-9155-BBD9294EEE73}" dt="2025-02-04T14:22:19.334" v="1429" actId="1036"/>
          <ac:spMkLst>
            <pc:docMk/>
            <pc:sldMk cId="3667187562" sldId="1976"/>
            <ac:spMk id="8" creationId="{33CD6C78-64E3-E435-C7DA-9B52B25969EE}"/>
          </ac:spMkLst>
        </pc:spChg>
        <pc:spChg chg="add mod">
          <ac:chgData name="Elias Theis" userId="a0f3eff05f862fa8" providerId="LiveId" clId="{63317A22-45FA-4B75-9155-BBD9294EEE73}" dt="2025-02-04T14:22:19.334" v="1429" actId="1036"/>
          <ac:spMkLst>
            <pc:docMk/>
            <pc:sldMk cId="3667187562" sldId="1976"/>
            <ac:spMk id="9" creationId="{91121AE1-3733-3F1A-0CF5-7E4BB320AEAD}"/>
          </ac:spMkLst>
        </pc:spChg>
        <pc:spChg chg="add mod">
          <ac:chgData name="Elias Theis" userId="a0f3eff05f862fa8" providerId="LiveId" clId="{63317A22-45FA-4B75-9155-BBD9294EEE73}" dt="2025-02-04T14:22:19.334" v="1429" actId="1036"/>
          <ac:spMkLst>
            <pc:docMk/>
            <pc:sldMk cId="3667187562" sldId="1976"/>
            <ac:spMk id="10" creationId="{291143ED-3E36-84E6-CDD5-C0E7B5AF8F52}"/>
          </ac:spMkLst>
        </pc:spChg>
        <pc:spChg chg="add mod">
          <ac:chgData name="Elias Theis" userId="a0f3eff05f862fa8" providerId="LiveId" clId="{63317A22-45FA-4B75-9155-BBD9294EEE73}" dt="2025-02-04T14:22:19.334" v="1429" actId="1036"/>
          <ac:spMkLst>
            <pc:docMk/>
            <pc:sldMk cId="3667187562" sldId="1976"/>
            <ac:spMk id="11" creationId="{2AE56D43-2D8F-5F7A-9ED2-601BEB4D6FB3}"/>
          </ac:spMkLst>
        </pc:spChg>
        <pc:spChg chg="add mod">
          <ac:chgData name="Elias Theis" userId="a0f3eff05f862fa8" providerId="LiveId" clId="{63317A22-45FA-4B75-9155-BBD9294EEE73}" dt="2025-02-04T14:15:35.942" v="1275" actId="1036"/>
          <ac:spMkLst>
            <pc:docMk/>
            <pc:sldMk cId="3667187562" sldId="1976"/>
            <ac:spMk id="12" creationId="{4DF989BB-472F-D44E-6C1F-B62843F6C6A8}"/>
          </ac:spMkLst>
        </pc:spChg>
        <pc:picChg chg="add mod">
          <ac:chgData name="Elias Theis" userId="a0f3eff05f862fa8" providerId="LiveId" clId="{63317A22-45FA-4B75-9155-BBD9294EEE73}" dt="2025-02-04T14:22:19.334" v="1429" actId="1036"/>
          <ac:picMkLst>
            <pc:docMk/>
            <pc:sldMk cId="3667187562" sldId="1976"/>
            <ac:picMk id="14" creationId="{D376A65A-908E-9CFA-5CA3-272691596CF9}"/>
          </ac:picMkLst>
        </pc:picChg>
        <pc:picChg chg="add mod">
          <ac:chgData name="Elias Theis" userId="a0f3eff05f862fa8" providerId="LiveId" clId="{63317A22-45FA-4B75-9155-BBD9294EEE73}" dt="2025-02-04T14:22:19.334" v="1429" actId="1036"/>
          <ac:picMkLst>
            <pc:docMk/>
            <pc:sldMk cId="3667187562" sldId="1976"/>
            <ac:picMk id="16" creationId="{62792068-CC05-F1EE-D9FA-97A762B3E239}"/>
          </ac:picMkLst>
        </pc:picChg>
      </pc:sldChg>
      <pc:sldChg chg="modSp new del mod">
        <pc:chgData name="Elias Theis" userId="a0f3eff05f862fa8" providerId="LiveId" clId="{63317A22-45FA-4B75-9155-BBD9294EEE73}" dt="2025-02-04T14:16:24.063" v="1280" actId="47"/>
        <pc:sldMkLst>
          <pc:docMk/>
          <pc:sldMk cId="3514259201" sldId="1977"/>
        </pc:sldMkLst>
        <pc:spChg chg="mod">
          <ac:chgData name="Elias Theis" userId="a0f3eff05f862fa8" providerId="LiveId" clId="{63317A22-45FA-4B75-9155-BBD9294EEE73}" dt="2025-02-04T14:16:19.910" v="1279" actId="20577"/>
          <ac:spMkLst>
            <pc:docMk/>
            <pc:sldMk cId="3514259201" sldId="1977"/>
            <ac:spMk id="4" creationId="{08F3EC55-A98A-2725-4383-F0CB64139F91}"/>
          </ac:spMkLst>
        </pc:spChg>
      </pc:sldChg>
      <pc:sldChg chg="addSp delSp modSp add mod">
        <pc:chgData name="Elias Theis" userId="a0f3eff05f862fa8" providerId="LiveId" clId="{63317A22-45FA-4B75-9155-BBD9294EEE73}" dt="2025-02-04T14:28:14.399" v="1576" actId="20577"/>
        <pc:sldMkLst>
          <pc:docMk/>
          <pc:sldMk cId="4048062678" sldId="1977"/>
        </pc:sldMkLst>
        <pc:spChg chg="mod">
          <ac:chgData name="Elias Theis" userId="a0f3eff05f862fa8" providerId="LiveId" clId="{63317A22-45FA-4B75-9155-BBD9294EEE73}" dt="2025-02-04T14:28:14.399" v="1576" actId="20577"/>
          <ac:spMkLst>
            <pc:docMk/>
            <pc:sldMk cId="4048062678" sldId="1977"/>
            <ac:spMk id="2" creationId="{77A24212-D423-1874-9F4C-F057AC7C4768}"/>
          </ac:spMkLst>
        </pc:spChg>
        <pc:spChg chg="mod">
          <ac:chgData name="Elias Theis" userId="a0f3eff05f862fa8" providerId="LiveId" clId="{63317A22-45FA-4B75-9155-BBD9294EEE73}" dt="2025-02-04T14:16:51.901" v="1336" actId="20577"/>
          <ac:spMkLst>
            <pc:docMk/>
            <pc:sldMk cId="4048062678" sldId="1977"/>
            <ac:spMk id="3" creationId="{FD1417A0-1120-1046-F7F4-6D5D3E3BC787}"/>
          </ac:spMkLst>
        </pc:spChg>
        <pc:spChg chg="del mod">
          <ac:chgData name="Elias Theis" userId="a0f3eff05f862fa8" providerId="LiveId" clId="{63317A22-45FA-4B75-9155-BBD9294EEE73}" dt="2025-02-04T14:16:32.581" v="1285" actId="478"/>
          <ac:spMkLst>
            <pc:docMk/>
            <pc:sldMk cId="4048062678" sldId="1977"/>
            <ac:spMk id="5" creationId="{2BA42B92-689F-2847-67D7-0F0D0A647179}"/>
          </ac:spMkLst>
        </pc:spChg>
        <pc:spChg chg="del">
          <ac:chgData name="Elias Theis" userId="a0f3eff05f862fa8" providerId="LiveId" clId="{63317A22-45FA-4B75-9155-BBD9294EEE73}" dt="2025-02-04T14:16:28.206" v="1282" actId="478"/>
          <ac:spMkLst>
            <pc:docMk/>
            <pc:sldMk cId="4048062678" sldId="1977"/>
            <ac:spMk id="6" creationId="{E4987ACA-ACE4-6881-6281-EF049F887A86}"/>
          </ac:spMkLst>
        </pc:spChg>
        <pc:spChg chg="add mod">
          <ac:chgData name="Elias Theis" userId="a0f3eff05f862fa8" providerId="LiveId" clId="{63317A22-45FA-4B75-9155-BBD9294EEE73}" dt="2025-02-04T14:27:12.160" v="1556" actId="1076"/>
          <ac:spMkLst>
            <pc:docMk/>
            <pc:sldMk cId="4048062678" sldId="1977"/>
            <ac:spMk id="7" creationId="{5EE1034E-51CB-9FD3-2657-99CA29B87C57}"/>
          </ac:spMkLst>
        </pc:spChg>
        <pc:spChg chg="del">
          <ac:chgData name="Elias Theis" userId="a0f3eff05f862fa8" providerId="LiveId" clId="{63317A22-45FA-4B75-9155-BBD9294EEE73}" dt="2025-02-04T14:16:28.206" v="1282" actId="478"/>
          <ac:spMkLst>
            <pc:docMk/>
            <pc:sldMk cId="4048062678" sldId="1977"/>
            <ac:spMk id="8" creationId="{768BA4C0-7A93-A2B6-CC5C-B745117CE9F5}"/>
          </ac:spMkLst>
        </pc:spChg>
        <pc:spChg chg="del">
          <ac:chgData name="Elias Theis" userId="a0f3eff05f862fa8" providerId="LiveId" clId="{63317A22-45FA-4B75-9155-BBD9294EEE73}" dt="2025-02-04T14:16:28.206" v="1282" actId="478"/>
          <ac:spMkLst>
            <pc:docMk/>
            <pc:sldMk cId="4048062678" sldId="1977"/>
            <ac:spMk id="9" creationId="{6446367E-F00C-3206-0F75-973E7A92AA36}"/>
          </ac:spMkLst>
        </pc:spChg>
        <pc:spChg chg="del">
          <ac:chgData name="Elias Theis" userId="a0f3eff05f862fa8" providerId="LiveId" clId="{63317A22-45FA-4B75-9155-BBD9294EEE73}" dt="2025-02-04T14:16:28.206" v="1282" actId="478"/>
          <ac:spMkLst>
            <pc:docMk/>
            <pc:sldMk cId="4048062678" sldId="1977"/>
            <ac:spMk id="10" creationId="{D4B7A2F6-E8C2-6410-FC45-80CD37582205}"/>
          </ac:spMkLst>
        </pc:spChg>
        <pc:spChg chg="del">
          <ac:chgData name="Elias Theis" userId="a0f3eff05f862fa8" providerId="LiveId" clId="{63317A22-45FA-4B75-9155-BBD9294EEE73}" dt="2025-02-04T14:16:28.206" v="1282" actId="478"/>
          <ac:spMkLst>
            <pc:docMk/>
            <pc:sldMk cId="4048062678" sldId="1977"/>
            <ac:spMk id="11" creationId="{EA750D80-D724-7F47-D668-4825DFE59E07}"/>
          </ac:spMkLst>
        </pc:spChg>
        <pc:spChg chg="del">
          <ac:chgData name="Elias Theis" userId="a0f3eff05f862fa8" providerId="LiveId" clId="{63317A22-45FA-4B75-9155-BBD9294EEE73}" dt="2025-02-04T14:16:31.399" v="1284" actId="478"/>
          <ac:spMkLst>
            <pc:docMk/>
            <pc:sldMk cId="4048062678" sldId="1977"/>
            <ac:spMk id="12" creationId="{91284577-E344-032D-01EA-B8CB999D1158}"/>
          </ac:spMkLst>
        </pc:spChg>
        <pc:spChg chg="add mod">
          <ac:chgData name="Elias Theis" userId="a0f3eff05f862fa8" providerId="LiveId" clId="{63317A22-45FA-4B75-9155-BBD9294EEE73}" dt="2025-02-04T14:27:20.463" v="1560" actId="1076"/>
          <ac:spMkLst>
            <pc:docMk/>
            <pc:sldMk cId="4048062678" sldId="1977"/>
            <ac:spMk id="13" creationId="{602A2237-84EC-215D-484A-91A2A5F214DE}"/>
          </ac:spMkLst>
        </pc:spChg>
        <pc:spChg chg="add mod">
          <ac:chgData name="Elias Theis" userId="a0f3eff05f862fa8" providerId="LiveId" clId="{63317A22-45FA-4B75-9155-BBD9294EEE73}" dt="2025-02-04T14:27:18.735" v="1559" actId="1076"/>
          <ac:spMkLst>
            <pc:docMk/>
            <pc:sldMk cId="4048062678" sldId="1977"/>
            <ac:spMk id="14" creationId="{11F0D248-F8DD-97A1-76D7-B4288A429AC0}"/>
          </ac:spMkLst>
        </pc:spChg>
        <pc:spChg chg="add mod">
          <ac:chgData name="Elias Theis" userId="a0f3eff05f862fa8" providerId="LiveId" clId="{63317A22-45FA-4B75-9155-BBD9294EEE73}" dt="2025-02-04T14:27:14.943" v="1557" actId="1076"/>
          <ac:spMkLst>
            <pc:docMk/>
            <pc:sldMk cId="4048062678" sldId="1977"/>
            <ac:spMk id="15" creationId="{FE8FE6F9-6987-4A7E-27E6-C6558699900D}"/>
          </ac:spMkLst>
        </pc:spChg>
        <pc:spChg chg="add mod">
          <ac:chgData name="Elias Theis" userId="a0f3eff05f862fa8" providerId="LiveId" clId="{63317A22-45FA-4B75-9155-BBD9294EEE73}" dt="2025-02-04T14:27:16.828" v="1558" actId="1076"/>
          <ac:spMkLst>
            <pc:docMk/>
            <pc:sldMk cId="4048062678" sldId="1977"/>
            <ac:spMk id="16" creationId="{D6D28136-B5FF-F1A1-3224-BAA4AF63047F}"/>
          </ac:spMkLst>
        </pc:spChg>
        <pc:cxnChg chg="add mod">
          <ac:chgData name="Elias Theis" userId="a0f3eff05f862fa8" providerId="LiveId" clId="{63317A22-45FA-4B75-9155-BBD9294EEE73}" dt="2025-02-04T14:27:36.541" v="1562" actId="1582"/>
          <ac:cxnSpMkLst>
            <pc:docMk/>
            <pc:sldMk cId="4048062678" sldId="1977"/>
            <ac:cxnSpMk id="18" creationId="{26711B27-7F32-C325-EF2C-5146AD591ADF}"/>
          </ac:cxnSpMkLst>
        </pc:cxnChg>
        <pc:cxnChg chg="add mod">
          <ac:chgData name="Elias Theis" userId="a0f3eff05f862fa8" providerId="LiveId" clId="{63317A22-45FA-4B75-9155-BBD9294EEE73}" dt="2025-02-04T14:27:45.464" v="1565" actId="14100"/>
          <ac:cxnSpMkLst>
            <pc:docMk/>
            <pc:sldMk cId="4048062678" sldId="1977"/>
            <ac:cxnSpMk id="19" creationId="{C0C5E9E3-4B5F-B37E-DDA3-BCEB0FBEAC50}"/>
          </ac:cxnSpMkLst>
        </pc:cxnChg>
        <pc:cxnChg chg="add mod">
          <ac:chgData name="Elias Theis" userId="a0f3eff05f862fa8" providerId="LiveId" clId="{63317A22-45FA-4B75-9155-BBD9294EEE73}" dt="2025-02-04T14:27:53.319" v="1568" actId="14100"/>
          <ac:cxnSpMkLst>
            <pc:docMk/>
            <pc:sldMk cId="4048062678" sldId="1977"/>
            <ac:cxnSpMk id="22" creationId="{5FE1E795-B2B9-8696-D0AA-764B08090EDB}"/>
          </ac:cxnSpMkLst>
        </pc:cxnChg>
        <pc:cxnChg chg="add mod">
          <ac:chgData name="Elias Theis" userId="a0f3eff05f862fa8" providerId="LiveId" clId="{63317A22-45FA-4B75-9155-BBD9294EEE73}" dt="2025-02-04T14:27:58.619" v="1571" actId="14100"/>
          <ac:cxnSpMkLst>
            <pc:docMk/>
            <pc:sldMk cId="4048062678" sldId="1977"/>
            <ac:cxnSpMk id="25" creationId="{210F5558-6B1B-12AA-92A4-A6611E99F02D}"/>
          </ac:cxnSpMkLst>
        </pc:cxnChg>
      </pc:sldChg>
      <pc:sldChg chg="addSp delSp modSp new mod">
        <pc:chgData name="Elias Theis" userId="a0f3eff05f862fa8" providerId="LiveId" clId="{63317A22-45FA-4B75-9155-BBD9294EEE73}" dt="2025-02-04T14:30:32.614" v="1669" actId="20577"/>
        <pc:sldMkLst>
          <pc:docMk/>
          <pc:sldMk cId="4239820987" sldId="1978"/>
        </pc:sldMkLst>
        <pc:spChg chg="del">
          <ac:chgData name="Elias Theis" userId="a0f3eff05f862fa8" providerId="LiveId" clId="{63317A22-45FA-4B75-9155-BBD9294EEE73}" dt="2025-02-04T14:29:03.790" v="1610" actId="478"/>
          <ac:spMkLst>
            <pc:docMk/>
            <pc:sldMk cId="4239820987" sldId="1978"/>
            <ac:spMk id="2" creationId="{90F89661-FD60-07D1-039A-D3CDA4DAD57E}"/>
          </ac:spMkLst>
        </pc:spChg>
        <pc:spChg chg="add del mod">
          <ac:chgData name="Elias Theis" userId="a0f3eff05f862fa8" providerId="LiveId" clId="{63317A22-45FA-4B75-9155-BBD9294EEE73}" dt="2025-02-04T14:29:26.174" v="1616" actId="20577"/>
          <ac:spMkLst>
            <pc:docMk/>
            <pc:sldMk cId="4239820987" sldId="1978"/>
            <ac:spMk id="3" creationId="{A22BD6DC-552F-30EC-A563-4C752B18A91A}"/>
          </ac:spMkLst>
        </pc:spChg>
        <pc:spChg chg="mod">
          <ac:chgData name="Elias Theis" userId="a0f3eff05f862fa8" providerId="LiveId" clId="{63317A22-45FA-4B75-9155-BBD9294EEE73}" dt="2025-02-04T14:28:38.574" v="1603" actId="20577"/>
          <ac:spMkLst>
            <pc:docMk/>
            <pc:sldMk cId="4239820987" sldId="1978"/>
            <ac:spMk id="4" creationId="{E2BCE99D-87CA-35D5-BC87-C2A4E60E1344}"/>
          </ac:spMkLst>
        </pc:spChg>
        <pc:spChg chg="add mod">
          <ac:chgData name="Elias Theis" userId="a0f3eff05f862fa8" providerId="LiveId" clId="{63317A22-45FA-4B75-9155-BBD9294EEE73}" dt="2025-02-04T14:30:32.614" v="1669" actId="20577"/>
          <ac:spMkLst>
            <pc:docMk/>
            <pc:sldMk cId="4239820987" sldId="1978"/>
            <ac:spMk id="7" creationId="{2151D807-C67B-7E4A-1CEC-A6D943090C5B}"/>
          </ac:spMkLst>
        </pc:spChg>
        <pc:picChg chg="add mod">
          <ac:chgData name="Elias Theis" userId="a0f3eff05f862fa8" providerId="LiveId" clId="{63317A22-45FA-4B75-9155-BBD9294EEE73}" dt="2025-02-04T14:29:51.630" v="1629" actId="1037"/>
          <ac:picMkLst>
            <pc:docMk/>
            <pc:sldMk cId="4239820987" sldId="1978"/>
            <ac:picMk id="6" creationId="{B3673E2F-10FD-A0D1-E70E-3A9B5C76EAED}"/>
          </ac:picMkLst>
        </pc:picChg>
      </pc:sldChg>
      <pc:sldChg chg="addSp delSp modSp add mod">
        <pc:chgData name="Elias Theis" userId="a0f3eff05f862fa8" providerId="LiveId" clId="{63317A22-45FA-4B75-9155-BBD9294EEE73}" dt="2025-02-04T14:38:34.713" v="1774" actId="1076"/>
        <pc:sldMkLst>
          <pc:docMk/>
          <pc:sldMk cId="776859300" sldId="1979"/>
        </pc:sldMkLst>
        <pc:spChg chg="mod">
          <ac:chgData name="Elias Theis" userId="a0f3eff05f862fa8" providerId="LiveId" clId="{63317A22-45FA-4B75-9155-BBD9294EEE73}" dt="2025-02-04T14:38:16.454" v="1768" actId="20577"/>
          <ac:spMkLst>
            <pc:docMk/>
            <pc:sldMk cId="776859300" sldId="1979"/>
            <ac:spMk id="3" creationId="{A74F72AC-4AD1-907F-B1C9-D7A99E5E0000}"/>
          </ac:spMkLst>
        </pc:spChg>
        <pc:picChg chg="add mod">
          <ac:chgData name="Elias Theis" userId="a0f3eff05f862fa8" providerId="LiveId" clId="{63317A22-45FA-4B75-9155-BBD9294EEE73}" dt="2025-02-04T14:38:34.713" v="1774" actId="1076"/>
          <ac:picMkLst>
            <pc:docMk/>
            <pc:sldMk cId="776859300" sldId="1979"/>
            <ac:picMk id="5" creationId="{418120FC-7956-11B3-D697-E8C329225B14}"/>
          </ac:picMkLst>
        </pc:picChg>
        <pc:picChg chg="del">
          <ac:chgData name="Elias Theis" userId="a0f3eff05f862fa8" providerId="LiveId" clId="{63317A22-45FA-4B75-9155-BBD9294EEE73}" dt="2025-02-04T14:37:45.007" v="1738" actId="478"/>
          <ac:picMkLst>
            <pc:docMk/>
            <pc:sldMk cId="776859300" sldId="1979"/>
            <ac:picMk id="8" creationId="{2564CBB9-971D-861A-F637-65E474AED0A9}"/>
          </ac:picMkLst>
        </pc:picChg>
      </pc:sldChg>
      <pc:sldChg chg="addSp delSp modSp add mod">
        <pc:chgData name="Elias Theis" userId="a0f3eff05f862fa8" providerId="LiveId" clId="{63317A22-45FA-4B75-9155-BBD9294EEE73}" dt="2025-02-04T14:42:50.975" v="1967" actId="1038"/>
        <pc:sldMkLst>
          <pc:docMk/>
          <pc:sldMk cId="648293570" sldId="1980"/>
        </pc:sldMkLst>
        <pc:spChg chg="mod">
          <ac:chgData name="Elias Theis" userId="a0f3eff05f862fa8" providerId="LiveId" clId="{63317A22-45FA-4B75-9155-BBD9294EEE73}" dt="2025-02-04T14:40:30.055" v="1821" actId="20577"/>
          <ac:spMkLst>
            <pc:docMk/>
            <pc:sldMk cId="648293570" sldId="1980"/>
            <ac:spMk id="3" creationId="{DC39C8F6-6D85-BCC3-2E94-D74D6D1B4E90}"/>
          </ac:spMkLst>
        </pc:spChg>
        <pc:picChg chg="del">
          <ac:chgData name="Elias Theis" userId="a0f3eff05f862fa8" providerId="LiveId" clId="{63317A22-45FA-4B75-9155-BBD9294EEE73}" dt="2025-02-04T14:40:10.871" v="1776" actId="478"/>
          <ac:picMkLst>
            <pc:docMk/>
            <pc:sldMk cId="648293570" sldId="1980"/>
            <ac:picMk id="5" creationId="{DE785F17-0099-2534-D6E0-59F8337EF7E1}"/>
          </ac:picMkLst>
        </pc:picChg>
        <pc:picChg chg="add mod">
          <ac:chgData name="Elias Theis" userId="a0f3eff05f862fa8" providerId="LiveId" clId="{63317A22-45FA-4B75-9155-BBD9294EEE73}" dt="2025-02-04T14:41:49.183" v="1830" actId="1036"/>
          <ac:picMkLst>
            <pc:docMk/>
            <pc:sldMk cId="648293570" sldId="1980"/>
            <ac:picMk id="6" creationId="{7EE8C124-E2A0-F2B0-58E8-964368AF1433}"/>
          </ac:picMkLst>
        </pc:picChg>
        <pc:picChg chg="add mod modCrop">
          <ac:chgData name="Elias Theis" userId="a0f3eff05f862fa8" providerId="LiveId" clId="{63317A22-45FA-4B75-9155-BBD9294EEE73}" dt="2025-02-04T14:42:50.975" v="1967" actId="1038"/>
          <ac:picMkLst>
            <pc:docMk/>
            <pc:sldMk cId="648293570" sldId="1980"/>
            <ac:picMk id="8" creationId="{43AE529C-FFC9-D154-011A-FCCC84FDFF2E}"/>
          </ac:picMkLst>
        </pc:picChg>
      </pc:sldChg>
      <pc:sldChg chg="modSp add mod modTransition">
        <pc:chgData name="Elias Theis" userId="a0f3eff05f862fa8" providerId="LiveId" clId="{63317A22-45FA-4B75-9155-BBD9294EEE73}" dt="2025-02-04T14:43:12.158" v="2070" actId="1037"/>
        <pc:sldMkLst>
          <pc:docMk/>
          <pc:sldMk cId="2728026212" sldId="1981"/>
        </pc:sldMkLst>
        <pc:picChg chg="mod">
          <ac:chgData name="Elias Theis" userId="a0f3eff05f862fa8" providerId="LiveId" clId="{63317A22-45FA-4B75-9155-BBD9294EEE73}" dt="2025-02-04T14:43:07.719" v="2002" actId="1037"/>
          <ac:picMkLst>
            <pc:docMk/>
            <pc:sldMk cId="2728026212" sldId="1981"/>
            <ac:picMk id="6" creationId="{AA99E91D-F332-3594-7818-1CFD11AB317D}"/>
          </ac:picMkLst>
        </pc:picChg>
        <pc:picChg chg="mod">
          <ac:chgData name="Elias Theis" userId="a0f3eff05f862fa8" providerId="LiveId" clId="{63317A22-45FA-4B75-9155-BBD9294EEE73}" dt="2025-02-04T14:43:12.158" v="2070" actId="1037"/>
          <ac:picMkLst>
            <pc:docMk/>
            <pc:sldMk cId="2728026212" sldId="1981"/>
            <ac:picMk id="8" creationId="{F2A154CD-583A-B026-3F9D-01C6A465CE5D}"/>
          </ac:picMkLst>
        </pc:picChg>
      </pc:sldChg>
      <pc:sldChg chg="addSp delSp modSp new mod">
        <pc:chgData name="Elias Theis" userId="a0f3eff05f862fa8" providerId="LiveId" clId="{63317A22-45FA-4B75-9155-BBD9294EEE73}" dt="2025-02-04T16:02:18.935" v="2304" actId="1038"/>
        <pc:sldMkLst>
          <pc:docMk/>
          <pc:sldMk cId="2205894119" sldId="1982"/>
        </pc:sldMkLst>
        <pc:spChg chg="mod">
          <ac:chgData name="Elias Theis" userId="a0f3eff05f862fa8" providerId="LiveId" clId="{63317A22-45FA-4B75-9155-BBD9294EEE73}" dt="2025-02-04T16:02:18.935" v="2304" actId="1038"/>
          <ac:spMkLst>
            <pc:docMk/>
            <pc:sldMk cId="2205894119" sldId="1982"/>
            <ac:spMk id="2" creationId="{A3FB75D4-409D-337E-CFD5-14894D06AA8F}"/>
          </ac:spMkLst>
        </pc:spChg>
        <pc:spChg chg="mod">
          <ac:chgData name="Elias Theis" userId="a0f3eff05f862fa8" providerId="LiveId" clId="{63317A22-45FA-4B75-9155-BBD9294EEE73}" dt="2025-02-04T15:17:08.440" v="2154" actId="20577"/>
          <ac:spMkLst>
            <pc:docMk/>
            <pc:sldMk cId="2205894119" sldId="1982"/>
            <ac:spMk id="3" creationId="{6E51D1FA-2E88-97E6-748F-82DC0D913945}"/>
          </ac:spMkLst>
        </pc:spChg>
        <pc:spChg chg="mod">
          <ac:chgData name="Elias Theis" userId="a0f3eff05f862fa8" providerId="LiveId" clId="{63317A22-45FA-4B75-9155-BBD9294EEE73}" dt="2025-02-04T15:16:41.442" v="2105" actId="20577"/>
          <ac:spMkLst>
            <pc:docMk/>
            <pc:sldMk cId="2205894119" sldId="1982"/>
            <ac:spMk id="4" creationId="{8A29EA66-7378-BDA0-3371-A7A3B38DB389}"/>
          </ac:spMkLst>
        </pc:spChg>
        <pc:picChg chg="add mod">
          <ac:chgData name="Elias Theis" userId="a0f3eff05f862fa8" providerId="LiveId" clId="{63317A22-45FA-4B75-9155-BBD9294EEE73}" dt="2025-02-04T16:02:18.935" v="2304" actId="1038"/>
          <ac:picMkLst>
            <pc:docMk/>
            <pc:sldMk cId="2205894119" sldId="1982"/>
            <ac:picMk id="6" creationId="{74B760F2-59CC-69B3-AF06-98AD0717526F}"/>
          </ac:picMkLst>
        </pc:picChg>
        <pc:picChg chg="add mod">
          <ac:chgData name="Elias Theis" userId="a0f3eff05f862fa8" providerId="LiveId" clId="{63317A22-45FA-4B75-9155-BBD9294EEE73}" dt="2025-02-04T16:02:18.935" v="2304" actId="1038"/>
          <ac:picMkLst>
            <pc:docMk/>
            <pc:sldMk cId="2205894119" sldId="1982"/>
            <ac:picMk id="8" creationId="{BC6A618E-CFD8-BCA5-CFDC-90DE3039B628}"/>
          </ac:picMkLst>
        </pc:picChg>
        <pc:picChg chg="add del mod">
          <ac:chgData name="Elias Theis" userId="a0f3eff05f862fa8" providerId="LiveId" clId="{63317A22-45FA-4B75-9155-BBD9294EEE73}" dt="2025-02-04T16:00:16.654" v="2243" actId="478"/>
          <ac:picMkLst>
            <pc:docMk/>
            <pc:sldMk cId="2205894119" sldId="1982"/>
            <ac:picMk id="10" creationId="{092D8132-0B77-FABF-9B21-7B880917EC07}"/>
          </ac:picMkLst>
        </pc:picChg>
        <pc:picChg chg="add mod">
          <ac:chgData name="Elias Theis" userId="a0f3eff05f862fa8" providerId="LiveId" clId="{63317A22-45FA-4B75-9155-BBD9294EEE73}" dt="2025-02-04T16:02:18.935" v="2304" actId="1038"/>
          <ac:picMkLst>
            <pc:docMk/>
            <pc:sldMk cId="2205894119" sldId="1982"/>
            <ac:picMk id="12" creationId="{606061FC-F73F-5603-7F0E-FD9C377A623A}"/>
          </ac:picMkLst>
        </pc:picChg>
        <pc:picChg chg="add mod">
          <ac:chgData name="Elias Theis" userId="a0f3eff05f862fa8" providerId="LiveId" clId="{63317A22-45FA-4B75-9155-BBD9294EEE73}" dt="2025-02-04T16:02:18.935" v="2304" actId="1038"/>
          <ac:picMkLst>
            <pc:docMk/>
            <pc:sldMk cId="2205894119" sldId="1982"/>
            <ac:picMk id="14" creationId="{5E8690CD-73CB-7F98-54E3-CF447CF6431C}"/>
          </ac:picMkLst>
        </pc:picChg>
      </pc:sldChg>
      <pc:sldChg chg="add del ord">
        <pc:chgData name="Elias Theis" userId="a0f3eff05f862fa8" providerId="LiveId" clId="{63317A22-45FA-4B75-9155-BBD9294EEE73}" dt="2025-02-04T16:13:32.889" v="2416" actId="47"/>
        <pc:sldMkLst>
          <pc:docMk/>
          <pc:sldMk cId="3760135204" sldId="1983"/>
        </pc:sldMkLst>
      </pc:sldChg>
      <pc:sldMasterChg chg="modSp mod">
        <pc:chgData name="Elias Theis" userId="a0f3eff05f862fa8" providerId="LiveId" clId="{63317A22-45FA-4B75-9155-BBD9294EEE73}" dt="2025-01-29T12:46:53.986" v="67" actId="20577"/>
        <pc:sldMasterMkLst>
          <pc:docMk/>
          <pc:sldMasterMk cId="1020117872" sldId="2147483847"/>
        </pc:sldMasterMkLst>
        <pc:spChg chg="mod">
          <ac:chgData name="Elias Theis" userId="a0f3eff05f862fa8" providerId="LiveId" clId="{63317A22-45FA-4B75-9155-BBD9294EEE73}" dt="2025-01-29T12:46:53.986" v="67" actId="20577"/>
          <ac:spMkLst>
            <pc:docMk/>
            <pc:sldMasterMk cId="1020117872" sldId="2147483847"/>
            <ac:spMk id="11" creationId="{CF1CB1D6-4593-3D47-C0F8-7FCECB1CD07B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77FADF-6F91-4700-ADCF-C6A210CCAC3A}" type="datetimeFigureOut">
              <a:rPr lang="de-DE" smtClean="0"/>
              <a:pPr/>
              <a:t>04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ED27AB-4923-45BF-B71A-4571650FE17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825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CE43A1-47CC-44BB-A150-350EA94E6F24}" type="datetimeFigureOut">
              <a:rPr lang="de-DE" smtClean="0"/>
              <a:pPr/>
              <a:t>04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A32CE-79EA-4318-80AF-4528CE357DD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958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dirty="0"/>
              <a:t>NRW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precipitation</a:t>
            </a:r>
            <a:endParaRPr lang="de-DE" dirty="0"/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dirty="0" err="1"/>
              <a:t>Slight</a:t>
            </a:r>
            <a:r>
              <a:rPr lang="de-DE" dirty="0"/>
              <a:t> </a:t>
            </a:r>
            <a:r>
              <a:rPr lang="de-DE" dirty="0" err="1"/>
              <a:t>downtrend</a:t>
            </a:r>
            <a:r>
              <a:rPr lang="de-DE" dirty="0"/>
              <a:t>, but not </a:t>
            </a:r>
            <a:r>
              <a:rPr lang="de-DE" dirty="0" err="1"/>
              <a:t>statistically</a:t>
            </a:r>
            <a:r>
              <a:rPr lang="de-DE" dirty="0"/>
              <a:t> </a:t>
            </a:r>
            <a:r>
              <a:rPr lang="de-DE" dirty="0" err="1"/>
              <a:t>significant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A32CE-79EA-4318-80AF-4528CE357DD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249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AAE44-FD22-E2DC-C070-5C1945730E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4633475-1D88-51F0-682A-9B94D7029F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9230778-759E-2B28-82DE-172E79C141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dirty="0"/>
              <a:t>NRW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precipitation</a:t>
            </a:r>
            <a:endParaRPr lang="de-DE" dirty="0"/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dirty="0" err="1"/>
              <a:t>Slight</a:t>
            </a:r>
            <a:r>
              <a:rPr lang="de-DE" dirty="0"/>
              <a:t> </a:t>
            </a:r>
            <a:r>
              <a:rPr lang="de-DE" dirty="0" err="1"/>
              <a:t>downtrend</a:t>
            </a:r>
            <a:r>
              <a:rPr lang="de-DE" dirty="0"/>
              <a:t>, but not </a:t>
            </a:r>
            <a:r>
              <a:rPr lang="de-DE" dirty="0" err="1"/>
              <a:t>statistically</a:t>
            </a:r>
            <a:r>
              <a:rPr lang="de-DE" dirty="0"/>
              <a:t> </a:t>
            </a:r>
            <a:r>
              <a:rPr lang="de-DE" dirty="0" err="1"/>
              <a:t>significant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BD41C1-AEAF-61ED-F2A7-14383C59DA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A32CE-79EA-4318-80AF-4528CE357DD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6445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5B1E8-F648-03DD-E44A-ECDDCF136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A08F85F-199A-13B0-4504-56674F2437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A4E4B9B-2404-7504-EAA8-FD16C88E1B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dirty="0"/>
              <a:t>NRW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precipitation</a:t>
            </a:r>
            <a:endParaRPr lang="de-DE" dirty="0"/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dirty="0" err="1"/>
              <a:t>Slight</a:t>
            </a:r>
            <a:r>
              <a:rPr lang="de-DE" dirty="0"/>
              <a:t> </a:t>
            </a:r>
            <a:r>
              <a:rPr lang="de-DE" dirty="0" err="1"/>
              <a:t>downtrend</a:t>
            </a:r>
            <a:r>
              <a:rPr lang="de-DE" dirty="0"/>
              <a:t>, but not </a:t>
            </a:r>
            <a:r>
              <a:rPr lang="de-DE" dirty="0" err="1"/>
              <a:t>statistically</a:t>
            </a:r>
            <a:r>
              <a:rPr lang="de-DE" dirty="0"/>
              <a:t> </a:t>
            </a:r>
            <a:r>
              <a:rPr lang="de-DE" dirty="0" err="1"/>
              <a:t>significant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9077B07-2DB1-B156-F69D-7E13749C6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A32CE-79EA-4318-80AF-4528CE357DD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405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CABBA67-ED3B-AF84-9864-1005477304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628775"/>
            <a:ext cx="12192000" cy="5229225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4625AAA-3214-414E-851B-A985E66B7A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" y="5160375"/>
            <a:ext cx="12192001" cy="1565036"/>
          </a:xfrm>
          <a:solidFill>
            <a:srgbClr val="FFFFFF">
              <a:alpha val="60000"/>
            </a:srgbClr>
          </a:solidFill>
        </p:spPr>
        <p:txBody>
          <a:bodyPr wrap="square" lIns="324000" tIns="360000" bIns="720000" anchor="b">
            <a:spAutoFit/>
          </a:bodyPr>
          <a:lstStyle>
            <a:lvl1pPr algn="l">
              <a:lnSpc>
                <a:spcPts val="3733"/>
              </a:lnSpc>
              <a:defRPr lang="de-DE" sz="3200" b="0" kern="1200" dirty="0">
                <a:solidFill>
                  <a:schemeClr val="tx1"/>
                </a:solidFill>
                <a:latin typeface="+mj-lt"/>
                <a:ea typeface="ＭＳ Ｐゴシック" charset="-128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FCDE9E7C-7DC9-4C0F-AC45-4AB8AADB69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" y="6291219"/>
            <a:ext cx="12192001" cy="480819"/>
          </a:xfrm>
          <a:prstGeom prst="rect">
            <a:avLst/>
          </a:prstGeom>
          <a:noFill/>
        </p:spPr>
        <p:txBody>
          <a:bodyPr wrap="square" lIns="324000" bIns="144000" anchor="ctr">
            <a:sp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uppertal, TT.MM.JJJJ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16EC9C6-7359-9735-4E40-A828E121A7B8}"/>
              </a:ext>
            </a:extLst>
          </p:cNvPr>
          <p:cNvGrpSpPr/>
          <p:nvPr userDrawn="1"/>
        </p:nvGrpSpPr>
        <p:grpSpPr>
          <a:xfrm>
            <a:off x="7453045" y="503453"/>
            <a:ext cx="4403595" cy="744662"/>
            <a:chOff x="7453045" y="503453"/>
            <a:chExt cx="4403595" cy="744662"/>
          </a:xfrm>
        </p:grpSpPr>
        <p:pic>
          <p:nvPicPr>
            <p:cNvPr id="2" name="Picture 2" descr="Bildergebnis fÃ¼r BUW logo">
              <a:extLst>
                <a:ext uri="{FF2B5EF4-FFF2-40B4-BE49-F238E27FC236}">
                  <a16:creationId xmlns:a16="http://schemas.microsoft.com/office/drawing/2014/main" id="{1A8D2FFE-690D-3763-E7C2-3F773D7F77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70127" y="503453"/>
              <a:ext cx="2486513" cy="744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B8BFF1BB-3604-C983-FDA5-E9766910D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53045" y="503453"/>
              <a:ext cx="1646578" cy="7446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93344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_dark">
    <p:bg>
      <p:bgPr>
        <a:solidFill>
          <a:srgbClr val="042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EACE47F-B023-510E-3C69-4D579AEF0F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54400" y="230400"/>
            <a:ext cx="861021" cy="389395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E7DA43D-E668-88BD-9784-AD511859D9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1125538"/>
            <a:ext cx="11522075" cy="5183187"/>
          </a:xfrm>
        </p:spPr>
        <p:txBody>
          <a:bodyPr lIns="0"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140B1FF-F314-9529-7041-2D3290A3F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5B3DBA90-4D1F-BF05-2993-EB3DF65BA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560418"/>
            <a:ext cx="8640960" cy="288925"/>
          </a:xfrm>
          <a:prstGeom prst="rect">
            <a:avLst/>
          </a:prstGeom>
        </p:spPr>
        <p:txBody>
          <a:bodyPr lIns="0" rIns="0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D105234-518B-01BB-A9BA-FE446BE9C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36525"/>
            <a:ext cx="8640959" cy="4127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5">
            <a:extLst>
              <a:ext uri="{FF2B5EF4-FFF2-40B4-BE49-F238E27FC236}">
                <a16:creationId xmlns:a16="http://schemas.microsoft.com/office/drawing/2014/main" id="{1CDEAB14-E243-9D6E-CDC6-BD1724B3436D}"/>
              </a:ext>
            </a:extLst>
          </p:cNvPr>
          <p:cNvSpPr txBox="1">
            <a:spLocks/>
          </p:cNvSpPr>
          <p:nvPr userDrawn="1"/>
        </p:nvSpPr>
        <p:spPr>
          <a:xfrm>
            <a:off x="343361" y="6533399"/>
            <a:ext cx="11081230" cy="1800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dirty="0">
                <a:solidFill>
                  <a:schemeClr val="bg1"/>
                </a:solidFill>
              </a:rPr>
              <a:t>© </a:t>
            </a:r>
            <a:r>
              <a:rPr lang="en-US" sz="900" b="0" dirty="0">
                <a:solidFill>
                  <a:schemeClr val="bg1"/>
                </a:solidFill>
              </a:rPr>
              <a:t>Institute for Technologies and Management of Digital Transformation, University of Wuppertal | </a:t>
            </a:r>
            <a:r>
              <a:rPr lang="de-DE" sz="900" b="0" dirty="0">
                <a:solidFill>
                  <a:schemeClr val="bg1"/>
                </a:solidFill>
              </a:rPr>
              <a:t>Veranstaltung | Datum, Ort</a:t>
            </a:r>
            <a:endParaRPr lang="en-US" sz="900" b="0" dirty="0">
              <a:solidFill>
                <a:schemeClr val="bg1"/>
              </a:solidFill>
            </a:endParaRPr>
          </a:p>
        </p:txBody>
      </p:sp>
      <p:pic>
        <p:nvPicPr>
          <p:cNvPr id="15" name="Picture 2" descr="Bildergebnis fÃ¼r BUW logo">
            <a:extLst>
              <a:ext uri="{FF2B5EF4-FFF2-40B4-BE49-F238E27FC236}">
                <a16:creationId xmlns:a16="http://schemas.microsoft.com/office/drawing/2014/main" id="{9B9F1864-806A-6CE9-64F1-7DEB14532B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400" y="230400"/>
            <a:ext cx="1300236" cy="389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99563B91-4B43-298E-2D92-117A3B552324}"/>
              </a:ext>
            </a:extLst>
          </p:cNvPr>
          <p:cNvSpPr/>
          <p:nvPr userDrawn="1"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767667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_blank_dark">
    <p:bg>
      <p:bgPr>
        <a:solidFill>
          <a:srgbClr val="0420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C4DBDD2-C195-5F00-CA39-B0F2E9882A37}"/>
              </a:ext>
            </a:extLst>
          </p:cNvPr>
          <p:cNvSpPr/>
          <p:nvPr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501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FDC809-41E2-E9B0-42B2-ED8224F076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47F519F-CD09-4BED-0CC8-7C329CFA6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716338"/>
            <a:ext cx="12192000" cy="3141662"/>
          </a:xfrm>
          <a:solidFill>
            <a:schemeClr val="bg1">
              <a:alpha val="60000"/>
            </a:schemeClr>
          </a:solidFill>
        </p:spPr>
        <p:txBody>
          <a:bodyPr lIns="324000" tIns="180000">
            <a:normAutofit/>
          </a:bodyPr>
          <a:lstStyle>
            <a:lvl1pPr>
              <a:defRPr sz="1600"/>
            </a:lvl1pPr>
          </a:lstStyle>
          <a:p>
            <a:pPr lvl="0"/>
            <a:endParaRPr lang="en-US" dirty="0"/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29E87EF4-70CB-84B7-B9A7-035A5DB3EAC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067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689FFA3-096B-B020-856D-BF1BF922C6E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" y="4798020"/>
            <a:ext cx="12192000" cy="1511300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en-US" dirty="0" err="1"/>
              <a:t>Zwischentitel</a:t>
            </a:r>
            <a:endParaRPr lang="en-US" dirty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DE28C393-A097-692B-8BC5-5823EF3F926B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1182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B5FB5FBD-68D9-A039-9FCB-4366E74D32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98020"/>
            <a:ext cx="12192001" cy="744662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de-DE" dirty="0"/>
              <a:t>Vielen Dank für Ihre Aufmerksamkeit</a:t>
            </a:r>
            <a:endParaRPr lang="en-US" dirty="0"/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FEAA260D-84CE-B1F8-FB40-28E3550A0A92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88390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309D2B1-4C0B-1355-E901-5D9261A3F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754C6A1-2BD7-72A5-2E2F-C80BAAC6D9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549275"/>
            <a:ext cx="8964612" cy="287437"/>
          </a:xfrm>
        </p:spPr>
        <p:txBody>
          <a:bodyPr/>
          <a:lstStyle>
            <a:lvl1pPr>
              <a:defRPr sz="1600"/>
            </a:lvl1pPr>
            <a:lvl2pPr marL="0" indent="0">
              <a:buNone/>
              <a:defRPr/>
            </a:lvl2pPr>
            <a:lvl3pPr marL="311400" indent="0">
              <a:buNone/>
              <a:defRPr/>
            </a:lvl3pPr>
            <a:lvl4pPr marL="563400" indent="0">
              <a:buNone/>
              <a:defRPr/>
            </a:lvl4pPr>
            <a:lvl5pPr marL="8154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1FC5478-B183-D255-B845-9AC505DDD9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1125538"/>
            <a:ext cx="11522075" cy="5183187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EABE4EC-396D-F850-0888-82EF017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171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LEH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1FC5478-B183-D255-B845-9AC505DDD9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1125538"/>
            <a:ext cx="11522075" cy="518318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EABE4EC-396D-F850-0888-82EF017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platzhalter 3">
            <a:extLst>
              <a:ext uri="{FF2B5EF4-FFF2-40B4-BE49-F238E27FC236}">
                <a16:creationId xmlns:a16="http://schemas.microsoft.com/office/drawing/2014/main" id="{EC544CB1-2386-5B67-0AFA-024F9E0FD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423962"/>
            <a:ext cx="8964000" cy="4127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A6DF9AC-B9DD-7544-0DE8-BB84108D35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44000"/>
            <a:ext cx="8964612" cy="234950"/>
          </a:xfrm>
        </p:spPr>
        <p:txBody>
          <a:bodyPr tIns="46800" bIns="46800">
            <a:no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287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9EFE50AC-452E-854B-2AF1-23563F4902F1}"/>
              </a:ext>
            </a:extLst>
          </p:cNvPr>
          <p:cNvSpPr/>
          <p:nvPr userDrawn="1"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28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FDC809-41E2-E9B0-42B2-ED8224F076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47F519F-CD09-4BED-0CC8-7C329CFA6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716338"/>
            <a:ext cx="12192000" cy="3141662"/>
          </a:xfrm>
          <a:solidFill>
            <a:schemeClr val="bg1">
              <a:alpha val="60000"/>
            </a:schemeClr>
          </a:solidFill>
        </p:spPr>
        <p:txBody>
          <a:bodyPr lIns="324000" tIns="180000">
            <a:normAutofit/>
          </a:bodyPr>
          <a:lstStyle>
            <a:lvl1pPr>
              <a:defRPr sz="1600"/>
            </a:lvl1pPr>
          </a:lstStyle>
          <a:p>
            <a:pPr lvl="0"/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17525B-1EAB-C50B-00A6-11F739A5892B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26057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689FFA3-096B-B020-856D-BF1BF922C6E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" y="4798020"/>
            <a:ext cx="12192000" cy="1511300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en-US" dirty="0" err="1"/>
              <a:t>Zwischentitel</a:t>
            </a:r>
            <a:endParaRPr lang="en-US" dirty="0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EA26BCFA-1CE8-7BD7-C622-66734A2D1667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57087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B5FB5FBD-68D9-A039-9FCB-4366E74D32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0FB9E4-FDA6-F82C-9850-3B6F5EB53C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98020"/>
            <a:ext cx="12192001" cy="744662"/>
          </a:xfrm>
          <a:solidFill>
            <a:schemeClr val="bg1">
              <a:alpha val="60000"/>
            </a:schemeClr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pPr lvl="0"/>
            <a:r>
              <a:rPr lang="de-DE" dirty="0"/>
              <a:t>Vielen Dank für Ihre Aufmerksamkeit</a:t>
            </a:r>
            <a:endParaRPr lang="en-US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49B2544C-7E44-21F8-E85B-0F703DB20CB1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7452000" y="503452"/>
            <a:ext cx="4404640" cy="747497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82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B67CB36-7CEB-8A5E-8785-4C45B29C8340}"/>
              </a:ext>
            </a:extLst>
          </p:cNvPr>
          <p:cNvSpPr/>
          <p:nvPr/>
        </p:nvSpPr>
        <p:spPr>
          <a:xfrm>
            <a:off x="-1" y="6839665"/>
            <a:ext cx="12192001" cy="45719"/>
          </a:xfrm>
          <a:prstGeom prst="rect">
            <a:avLst/>
          </a:prstGeom>
          <a:gradFill flip="none" rotWithShape="1">
            <a:gsLst>
              <a:gs pos="80000">
                <a:schemeClr val="accent5"/>
              </a:gs>
              <a:gs pos="60000">
                <a:schemeClr val="accent4"/>
              </a:gs>
              <a:gs pos="0">
                <a:schemeClr val="accent1"/>
              </a:gs>
              <a:gs pos="40000">
                <a:schemeClr val="accent3"/>
              </a:gs>
              <a:gs pos="20000">
                <a:schemeClr val="accent2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0ECADE43-028A-B258-98F2-38219C16C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16632"/>
            <a:ext cx="8964000" cy="4127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7210506-4A61-81DA-8B72-B1AFCA180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91" y="6525344"/>
            <a:ext cx="424047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1754482-39B1-41C5-AE0E-66440A81F4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6119608-AE5D-AE9F-D32A-306ED993E6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125538"/>
            <a:ext cx="11522075" cy="5183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CF1CB1D6-4593-3D47-C0F8-7FCECB1CD07B}"/>
              </a:ext>
            </a:extLst>
          </p:cNvPr>
          <p:cNvSpPr txBox="1">
            <a:spLocks/>
          </p:cNvSpPr>
          <p:nvPr/>
        </p:nvSpPr>
        <p:spPr>
          <a:xfrm>
            <a:off x="343361" y="6533399"/>
            <a:ext cx="11081230" cy="1800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© </a:t>
            </a:r>
            <a:r>
              <a:rPr lang="en-US" sz="900" b="0" dirty="0">
                <a:solidFill>
                  <a:schemeClr val="tx1"/>
                </a:solidFill>
              </a:rPr>
              <a:t>Institute for Technologies and Management of Digital Transformation, University of Wuppertal | </a:t>
            </a:r>
            <a:r>
              <a:rPr lang="de-DE" sz="900" b="0" dirty="0">
                <a:solidFill>
                  <a:schemeClr val="tx1"/>
                </a:solidFill>
              </a:rPr>
              <a:t>Selected Topics in Data Science | Elias Theis | 05.02.2025</a:t>
            </a:r>
            <a:endParaRPr lang="en-US" sz="900" b="0" dirty="0">
              <a:solidFill>
                <a:schemeClr val="tx1"/>
              </a:solidFill>
            </a:endParaRPr>
          </a:p>
        </p:txBody>
      </p:sp>
      <p:pic>
        <p:nvPicPr>
          <p:cNvPr id="2" name="Picture 2" descr="Bildergebnis fÃ¼r BUW logo">
            <a:extLst>
              <a:ext uri="{FF2B5EF4-FFF2-40B4-BE49-F238E27FC236}">
                <a16:creationId xmlns:a16="http://schemas.microsoft.com/office/drawing/2014/main" id="{12B2845D-B8EE-4E3B-3751-5D21D569D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400" y="231293"/>
            <a:ext cx="1300236" cy="389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77DACA5-DD8E-1F72-DF59-D7DC6298FAD5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52770" y="231293"/>
            <a:ext cx="861021" cy="38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117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64" r:id="rId2"/>
    <p:sldLayoutId id="2147483865" r:id="rId3"/>
    <p:sldLayoutId id="2147483859" r:id="rId4"/>
    <p:sldLayoutId id="2147483880" r:id="rId5"/>
    <p:sldLayoutId id="2147483863" r:id="rId6"/>
    <p:sldLayoutId id="2147483860" r:id="rId7"/>
    <p:sldLayoutId id="2147483861" r:id="rId8"/>
    <p:sldLayoutId id="2147483851" r:id="rId9"/>
    <p:sldLayoutId id="2147483854" r:id="rId10"/>
    <p:sldLayoutId id="2147483853" r:id="rId11"/>
    <p:sldLayoutId id="2147483866" r:id="rId1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2860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2000" indent="-22860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228600" algn="l" defTabSz="914400" rtl="0" eaLnBrk="1" latinLnBrk="0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orient="horz" pos="709" userDrawn="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2341">
          <p15:clr>
            <a:srgbClr val="F26B43"/>
          </p15:clr>
        </p15:guide>
        <p15:guide id="9" orient="horz" pos="346">
          <p15:clr>
            <a:srgbClr val="F26B43"/>
          </p15:clr>
        </p15:guide>
        <p15:guide id="11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DFB4A46-700A-903A-DBEF-EDBCF9FA08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" y="5349383"/>
            <a:ext cx="12192001" cy="1376028"/>
          </a:xfrm>
        </p:spPr>
        <p:txBody>
          <a:bodyPr tIns="216000"/>
          <a:lstStyle/>
          <a:p>
            <a:pPr>
              <a:lnSpc>
                <a:spcPct val="100000"/>
              </a:lnSpc>
            </a:pPr>
            <a:r>
              <a:rPr lang="en-US" sz="2800" dirty="0"/>
              <a:t>Data Analysis to Protect Against Climate-Driven Extremes</a:t>
            </a:r>
            <a:endParaRPr lang="de-DE" sz="2800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C94AE00C-6A0F-72DB-8398-F4B33958BF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2" y="6305037"/>
            <a:ext cx="12192001" cy="453183"/>
          </a:xfrm>
        </p:spPr>
        <p:txBody>
          <a:bodyPr/>
          <a:lstStyle/>
          <a:p>
            <a:r>
              <a:rPr lang="en-US" dirty="0"/>
              <a:t>Wuppertal, 05.02.2025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FB7BD91-AB7F-DE14-E74C-95BE941359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7CF0824-0506-D9BA-D8D7-301EB018618B}"/>
              </a:ext>
            </a:extLst>
          </p:cNvPr>
          <p:cNvSpPr/>
          <p:nvPr/>
        </p:nvSpPr>
        <p:spPr>
          <a:xfrm>
            <a:off x="-1" y="1628775"/>
            <a:ext cx="12191999" cy="52292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</a:pPr>
            <a:endParaRPr kumimoji="0" lang="de-DE" sz="20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itel 2">
            <a:extLst>
              <a:ext uri="{FF2B5EF4-FFF2-40B4-BE49-F238E27FC236}">
                <a16:creationId xmlns:a16="http://schemas.microsoft.com/office/drawing/2014/main" id="{D75061CB-7A4B-1132-0428-ABA25971F964}"/>
              </a:ext>
            </a:extLst>
          </p:cNvPr>
          <p:cNvSpPr txBox="1">
            <a:spLocks/>
          </p:cNvSpPr>
          <p:nvPr/>
        </p:nvSpPr>
        <p:spPr>
          <a:xfrm>
            <a:off x="-3" y="5373216"/>
            <a:ext cx="12191999" cy="1376028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vert="horz" wrap="square" lIns="324000" tIns="216000" rIns="91440" bIns="720000" rtlCol="0" anchor="b">
            <a:spAutoFit/>
          </a:bodyPr>
          <a:lstStyle>
            <a:lvl1pPr algn="l" defTabSz="914400" rtl="0" eaLnBrk="1" latinLnBrk="0" hangingPunct="1">
              <a:lnSpc>
                <a:spcPts val="3733"/>
              </a:lnSpc>
              <a:spcBef>
                <a:spcPct val="0"/>
              </a:spcBef>
              <a:buNone/>
              <a:defRPr lang="de-DE" sz="3200" b="0" kern="1200" dirty="0">
                <a:solidFill>
                  <a:schemeClr val="tx1"/>
                </a:solidFill>
                <a:latin typeface="+mj-lt"/>
                <a:ea typeface="ＭＳ Ｐゴシック" charset="-128"/>
                <a:cs typeface="Calibri Light" panose="020F030202020403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800" dirty="0"/>
              <a:t>Data Analysis to Protect Against Climate-Driven Extremes</a:t>
            </a:r>
          </a:p>
        </p:txBody>
      </p:sp>
      <p:pic>
        <p:nvPicPr>
          <p:cNvPr id="20" name="Picture 2" descr="Zwei Fotos: Links zu sehen das Wetterradarsystem Offenthal, Rechts sieht man die Antenne, da die schützende Radarkuppel abgenommen ist. (Quelle DWD / FE2)">
            <a:extLst>
              <a:ext uri="{FF2B5EF4-FFF2-40B4-BE49-F238E27FC236}">
                <a16:creationId xmlns:a16="http://schemas.microsoft.com/office/drawing/2014/main" id="{7FD9AC3F-F190-8938-442F-CFD189C505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0"/>
          <a:stretch/>
        </p:blipFill>
        <p:spPr bwMode="auto">
          <a:xfrm>
            <a:off x="0" y="1700808"/>
            <a:ext cx="2565395" cy="1952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undefined">
            <a:extLst>
              <a:ext uri="{FF2B5EF4-FFF2-40B4-BE49-F238E27FC236}">
                <a16:creationId xmlns:a16="http://schemas.microsoft.com/office/drawing/2014/main" id="{B05BF1E0-92BB-CBF2-62E9-C9EE2DC0A6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6" t="9091" b="16234"/>
          <a:stretch/>
        </p:blipFill>
        <p:spPr bwMode="auto">
          <a:xfrm>
            <a:off x="0" y="3722317"/>
            <a:ext cx="2558276" cy="152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21" descr="Ein Bild, das Text, Karte, Screenshot enthält.&#10;&#10;Automatisch generierte Beschreibung">
            <a:extLst>
              <a:ext uri="{FF2B5EF4-FFF2-40B4-BE49-F238E27FC236}">
                <a16:creationId xmlns:a16="http://schemas.microsoft.com/office/drawing/2014/main" id="{AC048458-2D45-FF40-431F-8D393BD639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6875" y="1700808"/>
            <a:ext cx="4363199" cy="3548795"/>
          </a:xfrm>
          <a:prstGeom prst="rect">
            <a:avLst/>
          </a:prstGeom>
        </p:spPr>
      </p:pic>
      <p:pic>
        <p:nvPicPr>
          <p:cNvPr id="23" name="Grafik 22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66863DC0-508C-6318-ED83-2ED626F67A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8673" y="3573016"/>
            <a:ext cx="3296515" cy="1678470"/>
          </a:xfrm>
          <a:prstGeom prst="rect">
            <a:avLst/>
          </a:prstGeom>
        </p:spPr>
      </p:pic>
      <p:sp>
        <p:nvSpPr>
          <p:cNvPr id="24" name="Untertitel 12">
            <a:extLst>
              <a:ext uri="{FF2B5EF4-FFF2-40B4-BE49-F238E27FC236}">
                <a16:creationId xmlns:a16="http://schemas.microsoft.com/office/drawing/2014/main" id="{E70B8248-665E-2043-9139-2306C6F712AB}"/>
              </a:ext>
            </a:extLst>
          </p:cNvPr>
          <p:cNvSpPr txBox="1">
            <a:spLocks/>
          </p:cNvSpPr>
          <p:nvPr/>
        </p:nvSpPr>
        <p:spPr>
          <a:xfrm>
            <a:off x="24679" y="6303634"/>
            <a:ext cx="12192001" cy="453183"/>
          </a:xfrm>
          <a:prstGeom prst="rect">
            <a:avLst/>
          </a:prstGeom>
          <a:noFill/>
        </p:spPr>
        <p:txBody>
          <a:bodyPr vert="horz" wrap="square" lIns="324000" tIns="0" rIns="0" bIns="144000" rtlCol="0" anchor="ctr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uppertal, 05.02.2025</a:t>
            </a:r>
          </a:p>
        </p:txBody>
      </p:sp>
      <p:pic>
        <p:nvPicPr>
          <p:cNvPr id="25" name="Grafik 24" descr="Ein Bild, das Text, Screenshot, Reihe, Diagramm enthält.&#10;&#10;Automatisch generierte Beschreibung">
            <a:extLst>
              <a:ext uri="{FF2B5EF4-FFF2-40B4-BE49-F238E27FC236}">
                <a16:creationId xmlns:a16="http://schemas.microsoft.com/office/drawing/2014/main" id="{4B29C931-DC4E-EDB3-476F-5544673057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7918" y="1708034"/>
            <a:ext cx="3269982" cy="1801400"/>
          </a:xfrm>
          <a:prstGeom prst="rect">
            <a:avLst/>
          </a:prstGeom>
        </p:spPr>
      </p:pic>
      <p:pic>
        <p:nvPicPr>
          <p:cNvPr id="26" name="Grafik 25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A416447B-9808-160E-272E-F51E1174F3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16151"/>
          <a:stretch/>
        </p:blipFill>
        <p:spPr>
          <a:xfrm>
            <a:off x="10391464" y="1714116"/>
            <a:ext cx="1800532" cy="2008201"/>
          </a:xfrm>
          <a:prstGeom prst="rect">
            <a:avLst/>
          </a:prstGeom>
        </p:spPr>
      </p:pic>
      <p:pic>
        <p:nvPicPr>
          <p:cNvPr id="27" name="Grafik 26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0E5F3247-4AE7-B162-F1E7-9577475699B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1402"/>
          <a:stretch/>
        </p:blipFill>
        <p:spPr>
          <a:xfrm>
            <a:off x="10391464" y="3778494"/>
            <a:ext cx="1800532" cy="147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893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22BD6DC-552F-30EC-A563-4C752B18A9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ily CPD and Major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2BCE99D-87CA-35D5-BC87-C2A4E60E13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pic>
        <p:nvPicPr>
          <p:cNvPr id="6" name="Grafik 5" descr="Ein Bild, das Text, Screenshot, Reihe, Diagramm enthält.&#10;&#10;Automatisch generierte Beschreibung">
            <a:extLst>
              <a:ext uri="{FF2B5EF4-FFF2-40B4-BE49-F238E27FC236}">
                <a16:creationId xmlns:a16="http://schemas.microsoft.com/office/drawing/2014/main" id="{B3673E2F-10FD-A0D1-E70E-3A9B5C76EA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966969"/>
            <a:ext cx="9984432" cy="5500324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51D807-C67B-7E4A-1CEC-A6D943090C5B}"/>
              </a:ext>
            </a:extLst>
          </p:cNvPr>
          <p:cNvSpPr txBox="1"/>
          <p:nvPr/>
        </p:nvSpPr>
        <p:spPr>
          <a:xfrm>
            <a:off x="10344472" y="4077072"/>
            <a:ext cx="1656184" cy="108012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3 </a:t>
            </a:r>
            <a:r>
              <a:rPr lang="de-DE" dirty="0" err="1"/>
              <a:t>tim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ean</a:t>
            </a:r>
            <a:endParaRPr lang="de-DE" dirty="0"/>
          </a:p>
          <a:p>
            <a:pPr algn="ctr"/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hresh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98209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663FF93-6F1E-B87D-B54D-9B15E003E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ily CPD </a:t>
            </a:r>
            <a:r>
              <a:rPr lang="de-DE" dirty="0" err="1"/>
              <a:t>of</a:t>
            </a:r>
            <a:r>
              <a:rPr lang="de-DE" dirty="0"/>
              <a:t> 2024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035754E-63F5-3D58-D655-50863A8B52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pic>
        <p:nvPicPr>
          <p:cNvPr id="8" name="Grafik 7" descr="Ein Bild, das Text, Karte, Screenshot, Diagramm enthält.&#10;&#10;Automatisch generierte Beschreibung">
            <a:extLst>
              <a:ext uri="{FF2B5EF4-FFF2-40B4-BE49-F238E27FC236}">
                <a16:creationId xmlns:a16="http://schemas.microsoft.com/office/drawing/2014/main" id="{35563A3C-D4DA-BBAB-E9B2-3D41E8C8DCB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375" t="9051" r="12376" b="8009"/>
          <a:stretch/>
        </p:blipFill>
        <p:spPr>
          <a:xfrm>
            <a:off x="2711624" y="836712"/>
            <a:ext cx="6768752" cy="568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964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EFB919-DC41-FE63-B36C-E03E541A3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74F72AC-4AD1-907F-B1C9-D7A99E5E00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P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2021 </a:t>
            </a:r>
            <a:r>
              <a:rPr lang="de-DE" dirty="0" err="1"/>
              <a:t>flood</a:t>
            </a:r>
            <a:r>
              <a:rPr lang="de-DE" dirty="0"/>
              <a:t> </a:t>
            </a:r>
            <a:r>
              <a:rPr lang="de-DE" dirty="0" err="1"/>
              <a:t>disaster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CFD7ED-C5E5-9B37-9BE5-48FB7A6FBC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pic>
        <p:nvPicPr>
          <p:cNvPr id="5" name="Grafik 4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418120FC-7956-11B3-D697-E8C329225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9085" y="873349"/>
            <a:ext cx="6893830" cy="5560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593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476A9F-4AF7-41DE-50D5-C0B1A9BFB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C39C8F6-6D85-BCC3-2E94-D74D6D1B4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PD </a:t>
            </a:r>
            <a:r>
              <a:rPr lang="de-DE" dirty="0" err="1"/>
              <a:t>as</a:t>
            </a:r>
            <a:r>
              <a:rPr lang="de-DE" dirty="0"/>
              <a:t> an </a:t>
            </a:r>
            <a:r>
              <a:rPr lang="de-DE" dirty="0" err="1"/>
              <a:t>average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German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E2632D9-798F-07A7-9CBC-5961045BCF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pic>
        <p:nvPicPr>
          <p:cNvPr id="6" name="Grafik 5" descr="Ein Bild, das Text, Karte, Screenshot enthält.&#10;&#10;Automatisch generierte Beschreibung">
            <a:extLst>
              <a:ext uri="{FF2B5EF4-FFF2-40B4-BE49-F238E27FC236}">
                <a16:creationId xmlns:a16="http://schemas.microsoft.com/office/drawing/2014/main" id="{7EE8C124-E2A0-F2B0-58E8-964368AF1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844296"/>
            <a:ext cx="6984776" cy="5681048"/>
          </a:xfrm>
          <a:prstGeom prst="rect">
            <a:avLst/>
          </a:prstGeom>
        </p:spPr>
      </p:pic>
      <p:pic>
        <p:nvPicPr>
          <p:cNvPr id="8" name="Grafik 7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43AE529C-FFC9-D154-011A-FCCC84FDFF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935" t="11151" r="23852" b="8001"/>
          <a:stretch/>
        </p:blipFill>
        <p:spPr>
          <a:xfrm>
            <a:off x="12288688" y="996554"/>
            <a:ext cx="4320480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293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D31AA0-B1BF-BF2A-F847-CF6492E81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87F151E-8856-F3BD-7283-280191368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PD </a:t>
            </a:r>
            <a:r>
              <a:rPr lang="de-DE" dirty="0" err="1"/>
              <a:t>as</a:t>
            </a:r>
            <a:r>
              <a:rPr lang="de-DE" dirty="0"/>
              <a:t> an </a:t>
            </a:r>
            <a:r>
              <a:rPr lang="de-DE" dirty="0" err="1"/>
              <a:t>average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German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724C63-36FB-D812-ED4C-0211AE2945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pic>
        <p:nvPicPr>
          <p:cNvPr id="6" name="Grafik 5" descr="Ein Bild, das Text, Karte, Screenshot enthält.&#10;&#10;Automatisch generierte Beschreibung">
            <a:extLst>
              <a:ext uri="{FF2B5EF4-FFF2-40B4-BE49-F238E27FC236}">
                <a16:creationId xmlns:a16="http://schemas.microsoft.com/office/drawing/2014/main" id="{AA99E91D-F332-3594-7818-1CFD11AB31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844296"/>
            <a:ext cx="6984776" cy="5681048"/>
          </a:xfrm>
          <a:prstGeom prst="rect">
            <a:avLst/>
          </a:prstGeom>
        </p:spPr>
      </p:pic>
      <p:pic>
        <p:nvPicPr>
          <p:cNvPr id="8" name="Grafik 7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F2A154CD-583A-B026-3F9D-01C6A465CE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935" t="11151" r="23852" b="8001"/>
          <a:stretch/>
        </p:blipFill>
        <p:spPr>
          <a:xfrm>
            <a:off x="7392144" y="996554"/>
            <a:ext cx="4320480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0262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3FB75D4-409D-337E-CFD5-14894D06AA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7569" y="1250851"/>
            <a:ext cx="6336703" cy="5183187"/>
          </a:xfrm>
        </p:spPr>
        <p:txBody>
          <a:bodyPr/>
          <a:lstStyle/>
          <a:p>
            <a:r>
              <a:rPr lang="de-DE" b="1" dirty="0"/>
              <a:t>    </a:t>
            </a:r>
            <a:r>
              <a:rPr lang="de-DE" b="1" dirty="0" err="1"/>
              <a:t>Precise</a:t>
            </a:r>
            <a:r>
              <a:rPr lang="de-DE" b="1" dirty="0"/>
              <a:t> </a:t>
            </a:r>
            <a:r>
              <a:rPr lang="de-DE" b="1" dirty="0" err="1"/>
              <a:t>water</a:t>
            </a:r>
            <a:r>
              <a:rPr lang="de-DE" b="1" dirty="0"/>
              <a:t> </a:t>
            </a:r>
            <a:r>
              <a:rPr lang="de-DE" b="1" dirty="0" err="1"/>
              <a:t>absorption</a:t>
            </a:r>
            <a:endParaRPr lang="de-DE" b="1" dirty="0"/>
          </a:p>
          <a:p>
            <a:pPr marL="628650" lvl="1" indent="-342900"/>
            <a:r>
              <a:rPr lang="en-US" dirty="0"/>
              <a:t>different absorption based on the substrate and saturation</a:t>
            </a:r>
            <a:endParaRPr lang="de-DE" dirty="0"/>
          </a:p>
          <a:p>
            <a:r>
              <a:rPr lang="de-DE" b="1" dirty="0"/>
              <a:t>    </a:t>
            </a:r>
            <a:r>
              <a:rPr lang="de-DE" b="1" dirty="0" err="1"/>
              <a:t>Topography</a:t>
            </a:r>
            <a:endParaRPr lang="de-DE" b="1" dirty="0"/>
          </a:p>
          <a:p>
            <a:pPr marL="628650" lvl="1" indent="-342900"/>
            <a:r>
              <a:rPr lang="en-US" dirty="0"/>
              <a:t>unabsorbed water flows in the direction of steepest descent (aka valleys)</a:t>
            </a:r>
            <a:endParaRPr lang="de-DE" dirty="0"/>
          </a:p>
          <a:p>
            <a:r>
              <a:rPr lang="en-US" b="1" dirty="0"/>
              <a:t>    Water levels</a:t>
            </a:r>
          </a:p>
          <a:p>
            <a:pPr marL="628650" lvl="1" indent="-342900"/>
            <a:r>
              <a:rPr lang="en-US" dirty="0"/>
              <a:t>Water levels and fill heights of rivers, lakes, dams and reservoirs have a large influence on whether water escapes</a:t>
            </a:r>
          </a:p>
          <a:p>
            <a:r>
              <a:rPr lang="de-DE" b="1" dirty="0"/>
              <a:t>    </a:t>
            </a:r>
            <a:r>
              <a:rPr lang="de-DE" b="1" dirty="0" err="1"/>
              <a:t>Accumulation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snow</a:t>
            </a:r>
            <a:endParaRPr lang="de-DE" b="1" dirty="0"/>
          </a:p>
          <a:p>
            <a:pPr marL="628650" lvl="1" indent="-342900"/>
            <a:r>
              <a:rPr lang="en-US" dirty="0"/>
              <a:t>snow that has already fallen can melt and contribute to flooding</a:t>
            </a:r>
            <a:endParaRPr lang="de-DE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E51D1FA-2E88-97E6-748F-82DC0D913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miting</a:t>
            </a:r>
            <a:r>
              <a:rPr lang="de-DE" dirty="0"/>
              <a:t> </a:t>
            </a:r>
            <a:r>
              <a:rPr lang="de-DE" dirty="0" err="1"/>
              <a:t>factor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adar</a:t>
            </a:r>
            <a:r>
              <a:rPr lang="de-DE" dirty="0"/>
              <a:t> </a:t>
            </a:r>
            <a:r>
              <a:rPr lang="de-DE" dirty="0" err="1"/>
              <a:t>precipitiation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29EA66-7378-BDA0-3371-A7A3B38DB3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uilding an Early </a:t>
            </a:r>
            <a:r>
              <a:rPr lang="de-DE" dirty="0" err="1"/>
              <a:t>Warning</a:t>
            </a:r>
            <a:r>
              <a:rPr lang="de-DE" dirty="0"/>
              <a:t> System</a:t>
            </a:r>
          </a:p>
        </p:txBody>
      </p:sp>
      <p:pic>
        <p:nvPicPr>
          <p:cNvPr id="6" name="Grafik 5" descr="Tachometer niedrig mit einfarbiger Füllung">
            <a:extLst>
              <a:ext uri="{FF2B5EF4-FFF2-40B4-BE49-F238E27FC236}">
                <a16:creationId xmlns:a16="http://schemas.microsoft.com/office/drawing/2014/main" id="{74B760F2-59CC-69B3-AF06-98AD071752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21160" y="3522712"/>
            <a:ext cx="914400" cy="914400"/>
          </a:xfrm>
          <a:prstGeom prst="rect">
            <a:avLst/>
          </a:prstGeom>
        </p:spPr>
      </p:pic>
      <p:pic>
        <p:nvPicPr>
          <p:cNvPr id="8" name="Grafik 7" descr="Gießkanne mit einfarbiger Füllung">
            <a:extLst>
              <a:ext uri="{FF2B5EF4-FFF2-40B4-BE49-F238E27FC236}">
                <a16:creationId xmlns:a16="http://schemas.microsoft.com/office/drawing/2014/main" id="{BC6A618E-CFD8-BCA5-CFDC-90DE3039B6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21160" y="1124744"/>
            <a:ext cx="914400" cy="914400"/>
          </a:xfrm>
          <a:prstGeom prst="rect">
            <a:avLst/>
          </a:prstGeom>
        </p:spPr>
      </p:pic>
      <p:pic>
        <p:nvPicPr>
          <p:cNvPr id="12" name="Grafik 11" descr="Highwayszenerie mit einfarbiger Füllung">
            <a:extLst>
              <a:ext uri="{FF2B5EF4-FFF2-40B4-BE49-F238E27FC236}">
                <a16:creationId xmlns:a16="http://schemas.microsoft.com/office/drawing/2014/main" id="{606061FC-F73F-5603-7F0E-FD9C377A62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1160" y="2327176"/>
            <a:ext cx="914400" cy="914400"/>
          </a:xfrm>
          <a:prstGeom prst="rect">
            <a:avLst/>
          </a:prstGeom>
        </p:spPr>
      </p:pic>
      <p:pic>
        <p:nvPicPr>
          <p:cNvPr id="14" name="Grafik 13" descr="Schnee mit einfarbiger Füllung">
            <a:extLst>
              <a:ext uri="{FF2B5EF4-FFF2-40B4-BE49-F238E27FC236}">
                <a16:creationId xmlns:a16="http://schemas.microsoft.com/office/drawing/2014/main" id="{5E8690CD-73CB-7F98-54E3-CF447CF643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1160" y="494116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8941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2349185B-5634-8699-ECF8-F6C4AA68716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EFC535-B86D-1857-59CE-AC8A1159B8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053A588-1571-A1E8-7692-EB912EF4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784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feld 16">
            <a:extLst>
              <a:ext uri="{FF2B5EF4-FFF2-40B4-BE49-F238E27FC236}">
                <a16:creationId xmlns:a16="http://schemas.microsoft.com/office/drawing/2014/main" id="{E2B696FC-05AA-94EF-9554-6D184DA3C62D}"/>
              </a:ext>
            </a:extLst>
          </p:cNvPr>
          <p:cNvSpPr txBox="1"/>
          <p:nvPr/>
        </p:nvSpPr>
        <p:spPr>
          <a:xfrm>
            <a:off x="4007768" y="2204864"/>
            <a:ext cx="1296144" cy="72008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algn="l"/>
            <a:endParaRPr lang="en-US" dirty="0" err="1"/>
          </a:p>
        </p:txBody>
      </p:sp>
      <p:sp>
        <p:nvSpPr>
          <p:cNvPr id="46" name="Textplatzhalter 27">
            <a:extLst>
              <a:ext uri="{FF2B5EF4-FFF2-40B4-BE49-F238E27FC236}">
                <a16:creationId xmlns:a16="http://schemas.microsoft.com/office/drawing/2014/main" id="{D9B96148-9305-D57E-EA69-C2DD9D6D13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9456" y="1667054"/>
            <a:ext cx="6264696" cy="489063"/>
          </a:xfrm>
        </p:spPr>
        <p:txBody>
          <a:bodyPr anchor="ctr"/>
          <a:lstStyle/>
          <a:p>
            <a:r>
              <a:rPr lang="en-US" dirty="0"/>
              <a:t>Preprocessed Precipitation Radar Data</a:t>
            </a:r>
          </a:p>
        </p:txBody>
      </p:sp>
      <p:sp>
        <p:nvSpPr>
          <p:cNvPr id="47" name="Titel 26">
            <a:extLst>
              <a:ext uri="{FF2B5EF4-FFF2-40B4-BE49-F238E27FC236}">
                <a16:creationId xmlns:a16="http://schemas.microsoft.com/office/drawing/2014/main" id="{95D447BE-1890-633E-21BA-AD5447ABD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423962"/>
            <a:ext cx="8964000" cy="412750"/>
          </a:xfrm>
        </p:spPr>
        <p:txBody>
          <a:bodyPr/>
          <a:lstStyle/>
          <a:p>
            <a:r>
              <a:rPr lang="en-US" dirty="0"/>
              <a:t>The Dataset</a:t>
            </a:r>
          </a:p>
        </p:txBody>
      </p:sp>
      <p:sp>
        <p:nvSpPr>
          <p:cNvPr id="48" name="Textplatzhalter 28">
            <a:extLst>
              <a:ext uri="{FF2B5EF4-FFF2-40B4-BE49-F238E27FC236}">
                <a16:creationId xmlns:a16="http://schemas.microsoft.com/office/drawing/2014/main" id="{832BA046-B5C8-3219-A330-0FE35559EF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44000"/>
            <a:ext cx="8964612" cy="234950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61E6876C-6A9A-E3AF-2530-32088DA52AD6}"/>
              </a:ext>
            </a:extLst>
          </p:cNvPr>
          <p:cNvSpPr txBox="1"/>
          <p:nvPr/>
        </p:nvSpPr>
        <p:spPr>
          <a:xfrm>
            <a:off x="4295800" y="2060848"/>
            <a:ext cx="1296144" cy="72008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algn="l"/>
            <a:endParaRPr lang="en-US" dirty="0" err="1"/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43530690-0E33-DCBC-763F-89C62E160EAC}"/>
              </a:ext>
            </a:extLst>
          </p:cNvPr>
          <p:cNvGrpSpPr/>
          <p:nvPr/>
        </p:nvGrpSpPr>
        <p:grpSpPr>
          <a:xfrm>
            <a:off x="2872748" y="4318581"/>
            <a:ext cx="2232248" cy="864093"/>
            <a:chOff x="1415480" y="5445224"/>
            <a:chExt cx="2232248" cy="864093"/>
          </a:xfrm>
        </p:grpSpPr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1B69AF9E-60F2-A9FA-6E36-42E8A3FD7350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5517232"/>
              <a:ext cx="2232248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ACCE72FE-3A2F-EAF1-558B-A72E62335EF2}"/>
                </a:ext>
              </a:extLst>
            </p:cNvPr>
            <p:cNvCxnSpPr/>
            <p:nvPr/>
          </p:nvCxnSpPr>
          <p:spPr>
            <a:xfrm>
              <a:off x="1847527" y="5445224"/>
              <a:ext cx="0" cy="14401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3A6B0D6E-B3B1-647E-B8B2-25AA375F91EB}"/>
                </a:ext>
              </a:extLst>
            </p:cNvPr>
            <p:cNvCxnSpPr/>
            <p:nvPr/>
          </p:nvCxnSpPr>
          <p:spPr>
            <a:xfrm>
              <a:off x="2999656" y="5445224"/>
              <a:ext cx="0" cy="144016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CA19EE51-EA58-6D8E-96E6-D8E4FB9CFA86}"/>
                </a:ext>
              </a:extLst>
            </p:cNvPr>
            <p:cNvSpPr txBox="1"/>
            <p:nvPr/>
          </p:nvSpPr>
          <p:spPr>
            <a:xfrm>
              <a:off x="1559496" y="5589240"/>
              <a:ext cx="576064" cy="28802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dirty="0"/>
                <a:t>2006</a:t>
              </a:r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7D135BE3-F453-5222-CAB1-354573E4E6FC}"/>
                </a:ext>
              </a:extLst>
            </p:cNvPr>
            <p:cNvSpPr txBox="1"/>
            <p:nvPr/>
          </p:nvSpPr>
          <p:spPr>
            <a:xfrm>
              <a:off x="2711624" y="5597625"/>
              <a:ext cx="576064" cy="28802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dirty="0"/>
                <a:t>2024</a:t>
              </a:r>
            </a:p>
          </p:txBody>
        </p:sp>
        <p:sp>
          <p:nvSpPr>
            <p:cNvPr id="56" name="Geschweifte Klammer rechts 55">
              <a:extLst>
                <a:ext uri="{FF2B5EF4-FFF2-40B4-BE49-F238E27FC236}">
                  <a16:creationId xmlns:a16="http://schemas.microsoft.com/office/drawing/2014/main" id="{33DEA2B1-59D2-EE27-C44C-75CD5312C6E3}"/>
                </a:ext>
              </a:extLst>
            </p:cNvPr>
            <p:cNvSpPr/>
            <p:nvPr/>
          </p:nvSpPr>
          <p:spPr>
            <a:xfrm rot="5400000">
              <a:off x="2315580" y="4977172"/>
              <a:ext cx="216024" cy="1872208"/>
            </a:xfrm>
            <a:prstGeom prst="rightBrace">
              <a:avLst>
                <a:gd name="adj1" fmla="val 55975"/>
                <a:gd name="adj2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6181EB5B-9602-B4CC-28C0-D8FF793AB16D}"/>
                </a:ext>
              </a:extLst>
            </p:cNvPr>
            <p:cNvSpPr txBox="1"/>
            <p:nvPr/>
          </p:nvSpPr>
          <p:spPr>
            <a:xfrm>
              <a:off x="1919536" y="6021288"/>
              <a:ext cx="1008112" cy="28802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dirty="0"/>
                <a:t>19 years</a:t>
              </a:r>
            </a:p>
          </p:txBody>
        </p:sp>
      </p:grpSp>
      <p:pic>
        <p:nvPicPr>
          <p:cNvPr id="58" name="Grafik 57" descr="Regen mit einfarbiger Füllung">
            <a:extLst>
              <a:ext uri="{FF2B5EF4-FFF2-40B4-BE49-F238E27FC236}">
                <a16:creationId xmlns:a16="http://schemas.microsoft.com/office/drawing/2014/main" id="{28C71314-33D3-F132-BFC3-73DD7464D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996" y="1670963"/>
            <a:ext cx="489063" cy="489063"/>
          </a:xfrm>
          <a:prstGeom prst="rect">
            <a:avLst/>
          </a:prstGeom>
        </p:spPr>
      </p:pic>
      <p:pic>
        <p:nvPicPr>
          <p:cNvPr id="59" name="Grafik 58" descr="Datenbank mit einfarbiger Füllung">
            <a:extLst>
              <a:ext uri="{FF2B5EF4-FFF2-40B4-BE49-F238E27FC236}">
                <a16:creationId xmlns:a16="http://schemas.microsoft.com/office/drawing/2014/main" id="{80383E2D-2DD7-A895-1B56-D7AF75462A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994" y="2982410"/>
            <a:ext cx="489063" cy="489063"/>
          </a:xfrm>
          <a:prstGeom prst="rect">
            <a:avLst/>
          </a:prstGeom>
        </p:spPr>
      </p:pic>
      <p:sp>
        <p:nvSpPr>
          <p:cNvPr id="60" name="Textplatzhalter 27">
            <a:extLst>
              <a:ext uri="{FF2B5EF4-FFF2-40B4-BE49-F238E27FC236}">
                <a16:creationId xmlns:a16="http://schemas.microsoft.com/office/drawing/2014/main" id="{8D859B28-3680-B1BC-8AC9-D27C1D5F5364}"/>
              </a:ext>
            </a:extLst>
          </p:cNvPr>
          <p:cNvSpPr txBox="1">
            <a:spLocks/>
          </p:cNvSpPr>
          <p:nvPr/>
        </p:nvSpPr>
        <p:spPr>
          <a:xfrm>
            <a:off x="1199456" y="3006545"/>
            <a:ext cx="5832648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aset Size: 12GB compressed, 637GB </a:t>
            </a:r>
            <a:r>
              <a:rPr lang="en-US" dirty="0" err="1"/>
              <a:t>uncomp</a:t>
            </a:r>
            <a:r>
              <a:rPr lang="en-US" dirty="0"/>
              <a:t>.</a:t>
            </a:r>
          </a:p>
        </p:txBody>
      </p:sp>
      <p:pic>
        <p:nvPicPr>
          <p:cNvPr id="61" name="Grafik 60" descr="Uhr mit einfarbiger Füllung">
            <a:extLst>
              <a:ext uri="{FF2B5EF4-FFF2-40B4-BE49-F238E27FC236}">
                <a16:creationId xmlns:a16="http://schemas.microsoft.com/office/drawing/2014/main" id="{BD1864D7-AABB-12DF-16C5-9E4542095C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992" y="3608518"/>
            <a:ext cx="489063" cy="489063"/>
          </a:xfrm>
          <a:prstGeom prst="rect">
            <a:avLst/>
          </a:prstGeom>
        </p:spPr>
      </p:pic>
      <p:sp>
        <p:nvSpPr>
          <p:cNvPr id="62" name="Textplatzhalter 27">
            <a:extLst>
              <a:ext uri="{FF2B5EF4-FFF2-40B4-BE49-F238E27FC236}">
                <a16:creationId xmlns:a16="http://schemas.microsoft.com/office/drawing/2014/main" id="{6F5810FB-6722-985D-107A-3EFCEFA978E7}"/>
              </a:ext>
            </a:extLst>
          </p:cNvPr>
          <p:cNvSpPr txBox="1">
            <a:spLocks/>
          </p:cNvSpPr>
          <p:nvPr/>
        </p:nvSpPr>
        <p:spPr>
          <a:xfrm>
            <a:off x="1199456" y="3632724"/>
            <a:ext cx="5400600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cording Interval: 10 minutes, hourly</a:t>
            </a:r>
          </a:p>
        </p:txBody>
      </p:sp>
      <p:pic>
        <p:nvPicPr>
          <p:cNvPr id="64" name="Grafik 63" descr="Tageskalender mit einfarbiger Füllung">
            <a:extLst>
              <a:ext uri="{FF2B5EF4-FFF2-40B4-BE49-F238E27FC236}">
                <a16:creationId xmlns:a16="http://schemas.microsoft.com/office/drawing/2014/main" id="{9CEA5CD8-B5EF-E7B8-E49F-BB7D4549C8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2996" y="4291736"/>
            <a:ext cx="489063" cy="489063"/>
          </a:xfrm>
          <a:prstGeom prst="rect">
            <a:avLst/>
          </a:prstGeom>
        </p:spPr>
      </p:pic>
      <p:sp>
        <p:nvSpPr>
          <p:cNvPr id="65" name="Textplatzhalter 27">
            <a:extLst>
              <a:ext uri="{FF2B5EF4-FFF2-40B4-BE49-F238E27FC236}">
                <a16:creationId xmlns:a16="http://schemas.microsoft.com/office/drawing/2014/main" id="{98082CDC-1E83-4771-BAC4-1C2BA4FB24A7}"/>
              </a:ext>
            </a:extLst>
          </p:cNvPr>
          <p:cNvSpPr txBox="1">
            <a:spLocks/>
          </p:cNvSpPr>
          <p:nvPr/>
        </p:nvSpPr>
        <p:spPr>
          <a:xfrm>
            <a:off x="1199456" y="4308089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ime Range:</a:t>
            </a:r>
          </a:p>
        </p:txBody>
      </p:sp>
      <p:sp>
        <p:nvSpPr>
          <p:cNvPr id="66" name="Foliennummernplatzhalter 56">
            <a:extLst>
              <a:ext uri="{FF2B5EF4-FFF2-40B4-BE49-F238E27FC236}">
                <a16:creationId xmlns:a16="http://schemas.microsoft.com/office/drawing/2014/main" id="{53062DD0-E5F9-340D-4362-89DEF5C2E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4591" y="6525344"/>
            <a:ext cx="424047" cy="196131"/>
          </a:xfrm>
        </p:spPr>
        <p:txBody>
          <a:bodyPr/>
          <a:lstStyle/>
          <a:p>
            <a:fld id="{61754482-39B1-41C5-AE0E-66440A81F446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68" name="Grafik 67" descr="Satellitenantenne mit einfarbiger Füllung">
            <a:extLst>
              <a:ext uri="{FF2B5EF4-FFF2-40B4-BE49-F238E27FC236}">
                <a16:creationId xmlns:a16="http://schemas.microsoft.com/office/drawing/2014/main" id="{3E32DAD4-288D-24E2-11D4-B2FD3734CE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2996" y="2300669"/>
            <a:ext cx="489063" cy="489063"/>
          </a:xfrm>
          <a:prstGeom prst="rect">
            <a:avLst/>
          </a:prstGeom>
        </p:spPr>
      </p:pic>
      <p:sp>
        <p:nvSpPr>
          <p:cNvPr id="69" name="Textplatzhalter 27">
            <a:extLst>
              <a:ext uri="{FF2B5EF4-FFF2-40B4-BE49-F238E27FC236}">
                <a16:creationId xmlns:a16="http://schemas.microsoft.com/office/drawing/2014/main" id="{4F12F9FC-835B-0748-FB1D-D936AA4EE237}"/>
              </a:ext>
            </a:extLst>
          </p:cNvPr>
          <p:cNvSpPr txBox="1">
            <a:spLocks/>
          </p:cNvSpPr>
          <p:nvPr/>
        </p:nvSpPr>
        <p:spPr>
          <a:xfrm>
            <a:off x="1199456" y="2300669"/>
            <a:ext cx="6264696" cy="4890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utscher </a:t>
            </a:r>
            <a:r>
              <a:rPr lang="en-US" dirty="0" err="1"/>
              <a:t>Wetterdienst</a:t>
            </a:r>
            <a:r>
              <a:rPr lang="en-US" dirty="0"/>
              <a:t> (DWD)</a:t>
            </a:r>
          </a:p>
        </p:txBody>
      </p:sp>
      <p:pic>
        <p:nvPicPr>
          <p:cNvPr id="71" name="Grafik 70" descr="Ein Bild, das Text, Karte, Diagramm, Atlas enthält.&#10;&#10;Automatisch generierte Beschreibung">
            <a:extLst>
              <a:ext uri="{FF2B5EF4-FFF2-40B4-BE49-F238E27FC236}">
                <a16:creationId xmlns:a16="http://schemas.microsoft.com/office/drawing/2014/main" id="{6D428622-DF51-8E81-42B6-875DBAEBB99E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3801" t="11151" r="11151" b="8001"/>
          <a:stretch/>
        </p:blipFill>
        <p:spPr>
          <a:xfrm>
            <a:off x="6922303" y="1011333"/>
            <a:ext cx="5226656" cy="496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775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Karte, Diagramm, Atlas enthält.&#10;&#10;Automatisch generierte Beschreibung">
            <a:extLst>
              <a:ext uri="{FF2B5EF4-FFF2-40B4-BE49-F238E27FC236}">
                <a16:creationId xmlns:a16="http://schemas.microsoft.com/office/drawing/2014/main" id="{50BC7F49-B3A4-7EC8-56EE-4F5D326F852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1151" b="8009"/>
          <a:stretch/>
        </p:blipFill>
        <p:spPr>
          <a:xfrm>
            <a:off x="2180465" y="116632"/>
            <a:ext cx="7831070" cy="6330653"/>
          </a:xfrm>
          <a:prstGeom prst="rect">
            <a:avLst/>
          </a:prstGeom>
        </p:spPr>
      </p:pic>
      <p:sp>
        <p:nvSpPr>
          <p:cNvPr id="7" name="Textplatzhalter 28">
            <a:extLst>
              <a:ext uri="{FF2B5EF4-FFF2-40B4-BE49-F238E27FC236}">
                <a16:creationId xmlns:a16="http://schemas.microsoft.com/office/drawing/2014/main" id="{2E4C6156-72B3-6E69-2994-2A2103FD5C61}"/>
              </a:ext>
            </a:extLst>
          </p:cNvPr>
          <p:cNvSpPr txBox="1">
            <a:spLocks/>
          </p:cNvSpPr>
          <p:nvPr/>
        </p:nvSpPr>
        <p:spPr>
          <a:xfrm>
            <a:off x="334964" y="144000"/>
            <a:ext cx="8964612" cy="234950"/>
          </a:xfrm>
          <a:prstGeom prst="rect">
            <a:avLst/>
          </a:prstGeom>
        </p:spPr>
        <p:txBody>
          <a:bodyPr vert="horz" lIns="0" tIns="46800" rIns="0" bIns="4680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rodu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8702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B9E9C5-73AD-07DA-13E8-F84FB3835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cipitation</a:t>
            </a:r>
            <a:r>
              <a:rPr lang="de-DE" dirty="0"/>
              <a:t> per Yea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02DBE2-62A7-C6C8-8C27-12A4958DAC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asic Trends</a:t>
            </a:r>
          </a:p>
        </p:txBody>
      </p:sp>
      <p:pic>
        <p:nvPicPr>
          <p:cNvPr id="6" name="Grafik 5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E98B42B9-516A-C6F4-8E93-9314FA7D8F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448" y="1124744"/>
            <a:ext cx="9937104" cy="505962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49DF0B2-9BDE-1317-9EB8-AE070FF01ADE}"/>
              </a:ext>
            </a:extLst>
          </p:cNvPr>
          <p:cNvSpPr txBox="1"/>
          <p:nvPr/>
        </p:nvSpPr>
        <p:spPr>
          <a:xfrm>
            <a:off x="8184232" y="1484784"/>
            <a:ext cx="3744416" cy="367240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2365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1047C0-904F-17EB-A06B-393865890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CEF239E-CB20-089E-A49C-93B3C36C7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cipitation</a:t>
            </a:r>
            <a:r>
              <a:rPr lang="de-DE" dirty="0"/>
              <a:t> per </a:t>
            </a:r>
            <a:r>
              <a:rPr lang="de-DE" dirty="0" err="1"/>
              <a:t>Month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ED30C6E-F408-9BE9-BFD9-E4F2C83F7C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asic Trend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7E83F2B-FB27-FF5B-3255-A2072D2CA3CD}"/>
              </a:ext>
            </a:extLst>
          </p:cNvPr>
          <p:cNvSpPr txBox="1"/>
          <p:nvPr/>
        </p:nvSpPr>
        <p:spPr>
          <a:xfrm>
            <a:off x="8184232" y="1484784"/>
            <a:ext cx="3744416" cy="367240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de-DE" dirty="0"/>
          </a:p>
        </p:txBody>
      </p:sp>
      <p:pic>
        <p:nvPicPr>
          <p:cNvPr id="5" name="Grafik 4" descr="Ein Bild, das Text, Diagramm, Reihe, Plan enthält.&#10;&#10;Automatisch generierte Beschreibung">
            <a:extLst>
              <a:ext uri="{FF2B5EF4-FFF2-40B4-BE49-F238E27FC236}">
                <a16:creationId xmlns:a16="http://schemas.microsoft.com/office/drawing/2014/main" id="{7C2E5C1A-03F6-1E58-3386-B9767926C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879" y="1058888"/>
            <a:ext cx="6948241" cy="5170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407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8CDE8-54D7-72EE-3B95-9C2747BD1D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5FB436F-F443-47F3-5F33-0C83EC2BB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cipitation</a:t>
            </a:r>
            <a:r>
              <a:rPr lang="de-DE" dirty="0"/>
              <a:t> per </a:t>
            </a:r>
            <a:r>
              <a:rPr lang="de-DE" dirty="0" err="1"/>
              <a:t>square</a:t>
            </a:r>
            <a:r>
              <a:rPr lang="de-DE" dirty="0"/>
              <a:t> </a:t>
            </a:r>
            <a:r>
              <a:rPr lang="de-DE" dirty="0" err="1"/>
              <a:t>kilometer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5B976C-105F-3BEF-8524-627FA22E52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asic Trend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96BD054-B162-35AA-EF41-CC009A6672E1}"/>
              </a:ext>
            </a:extLst>
          </p:cNvPr>
          <p:cNvSpPr txBox="1"/>
          <p:nvPr/>
        </p:nvSpPr>
        <p:spPr>
          <a:xfrm>
            <a:off x="8184232" y="1484784"/>
            <a:ext cx="3744416" cy="367240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de-DE" dirty="0"/>
          </a:p>
        </p:txBody>
      </p:sp>
      <p:pic>
        <p:nvPicPr>
          <p:cNvPr id="6" name="Grafik 5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513B6DE1-2E12-76EA-82C5-9278A1BB74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5651" y="855291"/>
            <a:ext cx="5840698" cy="546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097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AB5289-8F94-D124-30ED-7341FF3D3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ily </a:t>
            </a:r>
            <a:r>
              <a:rPr lang="de-DE" dirty="0" err="1"/>
              <a:t>Precipitation</a:t>
            </a:r>
            <a:r>
              <a:rPr lang="de-DE" dirty="0"/>
              <a:t> and Major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130BE33-2EF6-8FC6-5941-149A6BF821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pic>
        <p:nvPicPr>
          <p:cNvPr id="6" name="Grafik 5" descr="Ein Bild, das Text, Screenshot, parallel, Diagramm enthält.&#10;&#10;Automatisch generierte Beschreibung">
            <a:extLst>
              <a:ext uri="{FF2B5EF4-FFF2-40B4-BE49-F238E27FC236}">
                <a16:creationId xmlns:a16="http://schemas.microsoft.com/office/drawing/2014/main" id="{69115CDB-7588-69FC-FCB4-CFB845CA3F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452" y="991717"/>
            <a:ext cx="9865096" cy="551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880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D3F7453-9068-F474-796B-79D4A4E5E9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1125539"/>
            <a:ext cx="5184973" cy="2159446"/>
          </a:xfrm>
        </p:spPr>
        <p:txBody>
          <a:bodyPr/>
          <a:lstStyle/>
          <a:p>
            <a:r>
              <a:rPr lang="en-US" b="1" dirty="0"/>
              <a:t>Observations: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Very high precipitation in 24 hours does not always lead to weather extrem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 weather extreme does not always have high precipitation in 24 hours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AB92911-F30A-404D-F9E0-B4C0EEFCD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Hypothesi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F36752-153C-C077-06E3-025815A03F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19B4D8-27B3-E826-05B7-B57C3AF7D450}"/>
              </a:ext>
            </a:extLst>
          </p:cNvPr>
          <p:cNvSpPr/>
          <p:nvPr/>
        </p:nvSpPr>
        <p:spPr>
          <a:xfrm>
            <a:off x="6666520" y="1720386"/>
            <a:ext cx="1728192" cy="143102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24h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cipitation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FC6C1795-2D37-099C-3DF5-E2F1946D98D3}"/>
              </a:ext>
            </a:extLst>
          </p:cNvPr>
          <p:cNvSpPr/>
          <p:nvPr/>
        </p:nvSpPr>
        <p:spPr>
          <a:xfrm>
            <a:off x="9408368" y="1720386"/>
            <a:ext cx="1728192" cy="143102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ather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emes</a:t>
            </a:r>
          </a:p>
        </p:txBody>
      </p:sp>
      <p:sp>
        <p:nvSpPr>
          <p:cNvPr id="8" name="Pfeil: nach unten gekrümmt 7">
            <a:extLst>
              <a:ext uri="{FF2B5EF4-FFF2-40B4-BE49-F238E27FC236}">
                <a16:creationId xmlns:a16="http://schemas.microsoft.com/office/drawing/2014/main" id="{33CD6C78-64E3-E435-C7DA-9B52B25969EE}"/>
              </a:ext>
            </a:extLst>
          </p:cNvPr>
          <p:cNvSpPr/>
          <p:nvPr/>
        </p:nvSpPr>
        <p:spPr>
          <a:xfrm>
            <a:off x="7608168" y="1124744"/>
            <a:ext cx="2664296" cy="504056"/>
          </a:xfrm>
          <a:prstGeom prst="curvedDownArrow">
            <a:avLst>
              <a:gd name="adj1" fmla="val 6685"/>
              <a:gd name="adj2" fmla="val 44373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</a:pPr>
            <a:endParaRPr kumimoji="0" lang="de-DE" sz="20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Pfeil: nach unten gekrümmt 8">
            <a:extLst>
              <a:ext uri="{FF2B5EF4-FFF2-40B4-BE49-F238E27FC236}">
                <a16:creationId xmlns:a16="http://schemas.microsoft.com/office/drawing/2014/main" id="{91121AE1-3733-3F1A-0CF5-7E4BB320AEAD}"/>
              </a:ext>
            </a:extLst>
          </p:cNvPr>
          <p:cNvSpPr/>
          <p:nvPr/>
        </p:nvSpPr>
        <p:spPr>
          <a:xfrm rot="10800000">
            <a:off x="7530616" y="3212976"/>
            <a:ext cx="2664296" cy="504056"/>
          </a:xfrm>
          <a:prstGeom prst="curvedDownArrow">
            <a:avLst>
              <a:gd name="adj1" fmla="val 6685"/>
              <a:gd name="adj2" fmla="val 44373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</a:pPr>
            <a:endParaRPr kumimoji="0" lang="de-DE" sz="20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91143ED-3E36-84E6-CDD5-C0E7B5AF8F52}"/>
              </a:ext>
            </a:extLst>
          </p:cNvPr>
          <p:cNvSpPr txBox="1"/>
          <p:nvPr/>
        </p:nvSpPr>
        <p:spPr>
          <a:xfrm>
            <a:off x="7608168" y="836712"/>
            <a:ext cx="2586744" cy="29847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dirty="0"/>
              <a:t>Not 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AE56D43-2D8F-5F7A-9ED2-601BEB4D6FB3}"/>
              </a:ext>
            </a:extLst>
          </p:cNvPr>
          <p:cNvSpPr txBox="1"/>
          <p:nvPr/>
        </p:nvSpPr>
        <p:spPr>
          <a:xfrm>
            <a:off x="7646944" y="3778599"/>
            <a:ext cx="2586744" cy="29847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dirty="0"/>
              <a:t>Not 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have</a:t>
            </a:r>
            <a:endParaRPr lang="de-DE" dirty="0"/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4DF989BB-472F-D44E-6C1F-B62843F6C6A8}"/>
              </a:ext>
            </a:extLst>
          </p:cNvPr>
          <p:cNvSpPr txBox="1">
            <a:spLocks/>
          </p:cNvSpPr>
          <p:nvPr/>
        </p:nvSpPr>
        <p:spPr>
          <a:xfrm>
            <a:off x="334964" y="3933850"/>
            <a:ext cx="6841158" cy="21594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ew Hypothesis:</a:t>
            </a:r>
            <a:endParaRPr lang="en-US" dirty="0"/>
          </a:p>
          <a:p>
            <a:r>
              <a:rPr lang="en-US" dirty="0"/>
              <a:t>The accumulation of precipitation leads to weather extremes.</a:t>
            </a:r>
          </a:p>
        </p:txBody>
      </p:sp>
      <p:pic>
        <p:nvPicPr>
          <p:cNvPr id="14" name="Grafik 13" descr="Regen mit einfarbiger Füllung">
            <a:extLst>
              <a:ext uri="{FF2B5EF4-FFF2-40B4-BE49-F238E27FC236}">
                <a16:creationId xmlns:a16="http://schemas.microsoft.com/office/drawing/2014/main" id="{D376A65A-908E-9CFA-5CA3-272691596C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6952" y="1658820"/>
            <a:ext cx="914400" cy="914400"/>
          </a:xfrm>
          <a:prstGeom prst="rect">
            <a:avLst/>
          </a:prstGeom>
        </p:spPr>
      </p:pic>
      <p:pic>
        <p:nvPicPr>
          <p:cNvPr id="16" name="Grafik 15" descr="Welle mit einfarbiger Füllung">
            <a:extLst>
              <a:ext uri="{FF2B5EF4-FFF2-40B4-BE49-F238E27FC236}">
                <a16:creationId xmlns:a16="http://schemas.microsoft.com/office/drawing/2014/main" id="{62792068-CC05-F1EE-D9FA-97A762B3E2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6488" y="165881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187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AFE4E4-29B2-5A7B-D63A-448D1018CA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A24212-D423-1874-9F4C-F057AC7C47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3" y="1125539"/>
            <a:ext cx="5184973" cy="1727397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New metric measures the accumulation of precipitation while factoring in runoff/decay over tim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D1417A0-1120-1046-F7F4-6D5D3E3BC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umulative</a:t>
            </a:r>
            <a:r>
              <a:rPr lang="de-DE" dirty="0"/>
              <a:t> </a:t>
            </a:r>
            <a:r>
              <a:rPr lang="de-DE" dirty="0" err="1"/>
              <a:t>Precipit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Decay (CPD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6DCDCCD-DFD4-981E-638A-5973CE0025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tecting</a:t>
            </a:r>
            <a:r>
              <a:rPr lang="de-DE" dirty="0"/>
              <a:t> </a:t>
            </a:r>
            <a:r>
              <a:rPr lang="de-DE" dirty="0" err="1"/>
              <a:t>Weather</a:t>
            </a:r>
            <a:r>
              <a:rPr lang="de-DE" dirty="0"/>
              <a:t> Extrem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5EE1034E-51CB-9FD3-2657-99CA29B87C57}"/>
                  </a:ext>
                </a:extLst>
              </p:cNvPr>
              <p:cNvSpPr txBox="1"/>
              <p:nvPr/>
            </p:nvSpPr>
            <p:spPr>
              <a:xfrm>
                <a:off x="3826931" y="3170843"/>
                <a:ext cx="4129608" cy="516313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no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3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3200" b="0" i="1" smtClean="0">
                              <a:latin typeface="Cambria Math" panose="02040503050406030204" pitchFamily="18" charset="0"/>
                            </a:rPr>
                            <m:t>𝐶𝑃𝐷</m:t>
                          </m:r>
                        </m:e>
                        <m:sub>
                          <m:r>
                            <a:rPr lang="de-DE" sz="3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3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3200" b="0" i="1" smtClean="0">
                              <a:latin typeface="Cambria Math" panose="02040503050406030204" pitchFamily="18" charset="0"/>
                            </a:rPr>
                            <m:t>𝐶𝑃𝐷</m:t>
                          </m:r>
                        </m:e>
                        <m:sub>
                          <m:r>
                            <a:rPr lang="de-DE" sz="3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32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de-DE" sz="3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de-DE" sz="3200" dirty="0" err="1"/>
              </a:p>
            </p:txBody>
          </p:sp>
        </mc:Choice>
        <mc:Fallback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5EE1034E-51CB-9FD3-2657-99CA29B87C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6931" y="3170843"/>
                <a:ext cx="4129608" cy="51631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feld 12">
            <a:extLst>
              <a:ext uri="{FF2B5EF4-FFF2-40B4-BE49-F238E27FC236}">
                <a16:creationId xmlns:a16="http://schemas.microsoft.com/office/drawing/2014/main" id="{602A2237-84EC-215D-484A-91A2A5F214DE}"/>
              </a:ext>
            </a:extLst>
          </p:cNvPr>
          <p:cNvSpPr txBox="1"/>
          <p:nvPr/>
        </p:nvSpPr>
        <p:spPr>
          <a:xfrm>
            <a:off x="839416" y="4221088"/>
            <a:ext cx="2520280" cy="360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de-DE" dirty="0"/>
              <a:t>New </a:t>
            </a:r>
            <a:r>
              <a:rPr lang="de-DE" dirty="0" err="1"/>
              <a:t>accumulation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1F0D248-F8DD-97A1-76D7-B4288A429AC0}"/>
              </a:ext>
            </a:extLst>
          </p:cNvPr>
          <p:cNvSpPr txBox="1"/>
          <p:nvPr/>
        </p:nvSpPr>
        <p:spPr>
          <a:xfrm>
            <a:off x="4079776" y="5157192"/>
            <a:ext cx="2520280" cy="360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de-DE" dirty="0"/>
              <a:t>Old </a:t>
            </a:r>
            <a:r>
              <a:rPr lang="de-DE" dirty="0" err="1"/>
              <a:t>accumulation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E8FE6F9-6987-4A7E-27E6-C6558699900D}"/>
              </a:ext>
            </a:extLst>
          </p:cNvPr>
          <p:cNvSpPr txBox="1"/>
          <p:nvPr/>
        </p:nvSpPr>
        <p:spPr>
          <a:xfrm>
            <a:off x="6312024" y="2245060"/>
            <a:ext cx="2520280" cy="360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de-DE" dirty="0"/>
              <a:t>Decay </a:t>
            </a:r>
            <a:r>
              <a:rPr lang="de-DE" dirty="0" err="1"/>
              <a:t>Factor</a:t>
            </a:r>
            <a:r>
              <a:rPr lang="de-DE" dirty="0"/>
              <a:t> (95%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6D28136-B5FF-F1A1-3224-BAA4AF63047F}"/>
              </a:ext>
            </a:extLst>
          </p:cNvPr>
          <p:cNvSpPr txBox="1"/>
          <p:nvPr/>
        </p:nvSpPr>
        <p:spPr>
          <a:xfrm>
            <a:off x="8400256" y="4509120"/>
            <a:ext cx="2520280" cy="360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de-DE" dirty="0"/>
              <a:t>New </a:t>
            </a:r>
            <a:r>
              <a:rPr lang="de-DE" dirty="0" err="1"/>
              <a:t>precipitation</a:t>
            </a:r>
            <a:endParaRPr lang="de-DE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6711B27-7F32-C325-EF2C-5146AD591ADF}"/>
              </a:ext>
            </a:extLst>
          </p:cNvPr>
          <p:cNvCxnSpPr/>
          <p:nvPr/>
        </p:nvCxnSpPr>
        <p:spPr>
          <a:xfrm flipV="1">
            <a:off x="3143672" y="3645024"/>
            <a:ext cx="576064" cy="43204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0C5E9E3-4B5F-B37E-DDA3-BCEB0FBEAC50}"/>
              </a:ext>
            </a:extLst>
          </p:cNvPr>
          <p:cNvCxnSpPr>
            <a:cxnSpLocks/>
          </p:cNvCxnSpPr>
          <p:nvPr/>
        </p:nvCxnSpPr>
        <p:spPr>
          <a:xfrm flipV="1">
            <a:off x="5375920" y="3797424"/>
            <a:ext cx="216024" cy="114374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5FE1E795-B2B9-8696-D0AA-764B08090EDB}"/>
              </a:ext>
            </a:extLst>
          </p:cNvPr>
          <p:cNvCxnSpPr>
            <a:cxnSpLocks/>
          </p:cNvCxnSpPr>
          <p:nvPr/>
        </p:nvCxnSpPr>
        <p:spPr>
          <a:xfrm flipH="1">
            <a:off x="7032104" y="2605100"/>
            <a:ext cx="72008" cy="61819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210F5558-6B1B-12AA-92A4-A6611E99F02D}"/>
              </a:ext>
            </a:extLst>
          </p:cNvPr>
          <p:cNvCxnSpPr>
            <a:cxnSpLocks/>
          </p:cNvCxnSpPr>
          <p:nvPr/>
        </p:nvCxnSpPr>
        <p:spPr>
          <a:xfrm flipH="1" flipV="1">
            <a:off x="7932204" y="3717032"/>
            <a:ext cx="972108" cy="72008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8062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 singleSlideId=&quot;ec537c10-3f70-4282-8ec1-48273421da4e&quot; backupSlideId=&quot;157323ae-e6eb-4800-a13c-30b0c4bb6952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79.4395&quot; /&gt;&lt;column field=&quot;responsible&quot; label=&quot;Responsible&quot; visible=&quot;1&quot; checked=&quot;0&quot; leftSpacing=&quot;10&quot; rightDistribute=&quot;1&quot; dock=&quot;1&quot; rightSpacing=&quot;121.5901&quot; /&gt;&lt;column field=&quot;freecolumn&quot; label=&quot;&amp;lt;Header&amp;g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b73a293c-87cd-40b1-acad-74fd05281448&quot; parentId=&quot;&quot; level=&quot;1&quot; generateAgendaSlide=&quot;1&quot; showAgendaItem=&quot;1&quot; isBreak=&quot;0&quot; topic=&quot;Introduction&quot; agendaSlideId=&quot;d9545623-35fc-43dc-995c-1d2139e07c0a&quot; /&gt;&lt;item duration=&quot;30&quot; id=&quot;ddf1aa9c-4907-4ff5-9092-7cd301612ef4&quot; parentId=&quot;&quot; level=&quot;1&quot; generateAgendaSlide=&quot;1&quot; showAgendaItem=&quot;1&quot; isBreak=&quot;0&quot; topic=&quot;Background and State of the Art&quot; agendaSlideId=&quot;ad4ece36-bf10-4223-89fe-4df2c6abe864&quot; /&gt;&lt;item duration=&quot;30&quot; id=&quot;0dbd182b-0c2f-4fed-bcd2-a20fbf11dd25&quot; parentId=&quot;&quot; level=&quot;1&quot; generateAgendaSlide=&quot;1&quot; showAgendaItem=&quot;1&quot; isBreak=&quot;0&quot; topic=&quot;Use Case - Deep Drawing of Car Body Parts&quot; agendaSlideId=&quot;40d50906-0906-429c-a355-07a6838585dd&quot; /&gt;&lt;item duration=&quot;30&quot; id=&quot;6e953121-e076-4980-9392-408e21942a62&quot; parentId=&quot;&quot; level=&quot;1&quot; generateAgendaSlide=&quot;1&quot; showAgendaItem=&quot;1&quot; isBreak=&quot;0&quot; topic=&quot;Failure Prediction with LSTMs&quot; agendaSlideId=&quot;4d1becd6-5c90-4169-962c-007a7cdaa87f&quot; /&gt;&lt;item duration=&quot;30&quot; id=&quot;54de6e31-9f80-476c-8e40-84d2f2612373&quot; parentId=&quot;&quot; level=&quot;1&quot; generateAgendaSlide=&quot;1&quot; showAgendaItem=&quot;1&quot; isBreak=&quot;0&quot; topic=&quot;Summary and Outlook&quot; agendaSlideId=&quot;a3215c3e-5c2f-4edb-88de-ce5dd5db0291&quot; /&gt;&lt;/items&gt;&lt;/agenda&gt;&lt;/contents&gt;&lt;/ee4p&gt;"/>
  <p:tag name="EE4P_LANGUAGE_ID" val="1033"/>
</p:tagLst>
</file>

<file path=ppt/theme/theme1.xml><?xml version="1.0" encoding="utf-8"?>
<a:theme xmlns:a="http://schemas.openxmlformats.org/drawingml/2006/main" name="TMDT-Design_2023">
  <a:themeElements>
    <a:clrScheme name="TMDT_Colortheme">
      <a:dk1>
        <a:srgbClr val="042042"/>
      </a:dk1>
      <a:lt1>
        <a:srgbClr val="FFFFFF"/>
      </a:lt1>
      <a:dk2>
        <a:srgbClr val="477BBB"/>
      </a:dk2>
      <a:lt2>
        <a:srgbClr val="D9D9D9"/>
      </a:lt2>
      <a:accent1>
        <a:srgbClr val="193D69"/>
      </a:accent1>
      <a:accent2>
        <a:srgbClr val="008798"/>
      </a:accent2>
      <a:accent3>
        <a:srgbClr val="73C0DE"/>
      </a:accent3>
      <a:accent4>
        <a:srgbClr val="89BA17"/>
      </a:accent4>
      <a:accent5>
        <a:srgbClr val="DECE13"/>
      </a:accent5>
      <a:accent6>
        <a:srgbClr val="FAB860"/>
      </a:accent6>
      <a:hlink>
        <a:srgbClr val="083E5F"/>
      </a:hlink>
      <a:folHlink>
        <a:srgbClr val="73C0D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 typeface="Wingdings" panose="05000000000000000000" pitchFamily="2" charset="2"/>
          <a:buNone/>
          <a:tabLst/>
          <a:defRPr kumimoji="0" sz="2000" b="0" i="0" u="none" strike="noStrike" kern="1200" cap="none" spc="0" normalizeH="0" baseline="0" noProof="0" dirty="0" err="1" smtClean="0">
            <a:ln>
              <a:noFill/>
            </a:ln>
            <a:solidFill>
              <a:schemeClr val="bg1"/>
            </a:solidFill>
            <a:effectLst/>
            <a:uLnTx/>
            <a:uFillTx/>
            <a:latin typeface="Arial" panose="020B0604020202020204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MDT-Design_221211" id="{341AF973-6194-47CD-BF58-5A077A4E8412}" vid="{4A86D0EF-D5AC-4F65-B576-F6DC36831F15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D7C0C27-EB7A-410B-B203-2FC3E05B4461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3</Words>
  <Application>Microsoft Office PowerPoint</Application>
  <PresentationFormat>Breitbild</PresentationFormat>
  <Paragraphs>75</Paragraphs>
  <Slides>16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Arial</vt:lpstr>
      <vt:lpstr>Calibri</vt:lpstr>
      <vt:lpstr>Cambria Math</vt:lpstr>
      <vt:lpstr>Wingdings</vt:lpstr>
      <vt:lpstr>TMDT-Design_2023</vt:lpstr>
      <vt:lpstr>Data Analysis to Protect Against Climate-Driven Extremes</vt:lpstr>
      <vt:lpstr>The Dataset</vt:lpstr>
      <vt:lpstr>PowerPoint-Präsentation</vt:lpstr>
      <vt:lpstr>Precipitation per Year</vt:lpstr>
      <vt:lpstr>Precipitation per Month</vt:lpstr>
      <vt:lpstr>Precipitation per square kilometer</vt:lpstr>
      <vt:lpstr>Daily Precipitation and Major Weather Extremes</vt:lpstr>
      <vt:lpstr>New Hypothesis</vt:lpstr>
      <vt:lpstr>Cumulative Precipitation with Decay (CPD)</vt:lpstr>
      <vt:lpstr>Daily CPD and Major Weather Extremes</vt:lpstr>
      <vt:lpstr>Daily CPD of 2024</vt:lpstr>
      <vt:lpstr>CPD of the 2021 flood disaster</vt:lpstr>
      <vt:lpstr>CPD as an average over Germany</vt:lpstr>
      <vt:lpstr>CPD as an average over Germany</vt:lpstr>
      <vt:lpstr>Limiting factors of radar precipitiation data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yael Night</dc:creator>
  <cp:lastModifiedBy>Elias Theis</cp:lastModifiedBy>
  <cp:revision>32</cp:revision>
  <cp:lastPrinted>2015-01-07T13:01:17Z</cp:lastPrinted>
  <dcterms:created xsi:type="dcterms:W3CDTF">2022-12-11T16:46:17Z</dcterms:created>
  <dcterms:modified xsi:type="dcterms:W3CDTF">2025-02-04T16:13:34Z</dcterms:modified>
</cp:coreProperties>
</file>